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344" r:id="rId2"/>
    <p:sldId id="408" r:id="rId3"/>
    <p:sldId id="409" r:id="rId4"/>
    <p:sldId id="410" r:id="rId5"/>
    <p:sldId id="411" r:id="rId6"/>
    <p:sldId id="412" r:id="rId7"/>
    <p:sldId id="413" r:id="rId8"/>
    <p:sldId id="414" r:id="rId9"/>
    <p:sldId id="415" r:id="rId10"/>
    <p:sldId id="416" r:id="rId11"/>
    <p:sldId id="417" r:id="rId12"/>
    <p:sldId id="347" r:id="rId13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88" autoAdjust="0"/>
    <p:restoredTop sz="88748" autoAdjust="0"/>
  </p:normalViewPr>
  <p:slideViewPr>
    <p:cSldViewPr>
      <p:cViewPr>
        <p:scale>
          <a:sx n="70" d="100"/>
          <a:sy n="70" d="100"/>
        </p:scale>
        <p:origin x="-318" y="-12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6E1133-27F8-42A1-91FE-23383B9ACC99}" type="doc">
      <dgm:prSet loTypeId="urn:microsoft.com/office/officeart/2005/8/layout/orgChart1" loCatId="hierarchy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3BDC9E6-B3ED-4E11-B81F-A36F96CA06AD}">
      <dgm:prSet custT="1"/>
      <dgm:spPr/>
      <dgm:t>
        <a:bodyPr/>
        <a:lstStyle/>
        <a:p>
          <a:pPr rtl="0"/>
          <a:r>
            <a:rPr lang="en-US" sz="2000" dirty="0" smtClean="0"/>
            <a:t>Usability is essentially Human Computer Interaction. Runtime Tactics are</a:t>
          </a:r>
          <a:endParaRPr lang="en-US" sz="2000" dirty="0"/>
        </a:p>
      </dgm:t>
    </dgm:pt>
    <dgm:pt modelId="{818B4425-229C-4D05-BD73-F2583AB7B9C5}" type="parTrans" cxnId="{E040E2E2-F016-4F82-9927-EA3D62DA0F57}">
      <dgm:prSet/>
      <dgm:spPr/>
      <dgm:t>
        <a:bodyPr/>
        <a:lstStyle/>
        <a:p>
          <a:endParaRPr lang="en-US" sz="2000"/>
        </a:p>
      </dgm:t>
    </dgm:pt>
    <dgm:pt modelId="{A3D2AA9D-1D2C-45CA-9A99-0FD9E343747F}" type="sibTrans" cxnId="{E040E2E2-F016-4F82-9927-EA3D62DA0F57}">
      <dgm:prSet/>
      <dgm:spPr/>
      <dgm:t>
        <a:bodyPr/>
        <a:lstStyle/>
        <a:p>
          <a:endParaRPr lang="en-US" sz="2000"/>
        </a:p>
      </dgm:t>
    </dgm:pt>
    <dgm:pt modelId="{843E3B21-DC9F-4CF8-A7F1-93BF704E47A7}">
      <dgm:prSet custT="1"/>
      <dgm:spPr/>
      <dgm:t>
        <a:bodyPr/>
        <a:lstStyle/>
        <a:p>
          <a:pPr rtl="0"/>
          <a:r>
            <a:rPr lang="en-US" sz="1800" dirty="0" smtClean="0"/>
            <a:t>User initiative (and system responds)</a:t>
          </a:r>
          <a:endParaRPr lang="en-US" sz="1800" dirty="0"/>
        </a:p>
      </dgm:t>
    </dgm:pt>
    <dgm:pt modelId="{3EEFE082-C4FA-499A-BA01-E4B8217A4B73}" type="parTrans" cxnId="{3C110BFF-FD87-473E-9985-0D9D761E60BD}">
      <dgm:prSet/>
      <dgm:spPr/>
      <dgm:t>
        <a:bodyPr/>
        <a:lstStyle/>
        <a:p>
          <a:endParaRPr lang="en-US" sz="2000"/>
        </a:p>
      </dgm:t>
    </dgm:pt>
    <dgm:pt modelId="{2992CB8F-FBF4-486F-BE86-7AEC96D28238}" type="sibTrans" cxnId="{3C110BFF-FD87-473E-9985-0D9D761E60BD}">
      <dgm:prSet/>
      <dgm:spPr/>
      <dgm:t>
        <a:bodyPr/>
        <a:lstStyle/>
        <a:p>
          <a:endParaRPr lang="en-US" sz="2000"/>
        </a:p>
      </dgm:t>
    </dgm:pt>
    <dgm:pt modelId="{A240A1E1-162D-4A6E-A806-B6FF45B3AB68}">
      <dgm:prSet custT="1"/>
      <dgm:spPr/>
      <dgm:t>
        <a:bodyPr/>
        <a:lstStyle/>
        <a:p>
          <a:pPr rtl="0"/>
          <a:r>
            <a:rPr lang="en-US" sz="1600" smtClean="0"/>
            <a:t>Cancel, undo, aggregation, store partial result</a:t>
          </a:r>
          <a:endParaRPr lang="en-US" sz="1600"/>
        </a:p>
      </dgm:t>
    </dgm:pt>
    <dgm:pt modelId="{F0BD47AB-7AC9-40A2-A96D-1A911EFDE7FF}" type="parTrans" cxnId="{CCB5AE26-70F4-4C5B-B53D-136E39A12AC5}">
      <dgm:prSet/>
      <dgm:spPr/>
      <dgm:t>
        <a:bodyPr/>
        <a:lstStyle/>
        <a:p>
          <a:endParaRPr lang="en-US" sz="2000"/>
        </a:p>
      </dgm:t>
    </dgm:pt>
    <dgm:pt modelId="{A12D77FB-8453-4F78-A007-65AD68966259}" type="sibTrans" cxnId="{CCB5AE26-70F4-4C5B-B53D-136E39A12AC5}">
      <dgm:prSet/>
      <dgm:spPr/>
      <dgm:t>
        <a:bodyPr/>
        <a:lstStyle/>
        <a:p>
          <a:endParaRPr lang="en-US" sz="2000"/>
        </a:p>
      </dgm:t>
    </dgm:pt>
    <dgm:pt modelId="{C35FC96E-9015-4790-BDC3-6E0D4D502FCB}">
      <dgm:prSet custT="1"/>
      <dgm:spPr/>
      <dgm:t>
        <a:bodyPr/>
        <a:lstStyle/>
        <a:p>
          <a:pPr rtl="0"/>
          <a:r>
            <a:rPr lang="en-US" sz="1800" dirty="0" smtClean="0"/>
            <a:t>System initiative</a:t>
          </a:r>
          <a:endParaRPr lang="en-US" sz="1800" dirty="0"/>
        </a:p>
      </dgm:t>
    </dgm:pt>
    <dgm:pt modelId="{54165FB5-F7A3-4BBF-B199-2BE2BA410DE8}" type="parTrans" cxnId="{C159F786-ED38-476E-9CAF-598C4BA6A40C}">
      <dgm:prSet/>
      <dgm:spPr/>
      <dgm:t>
        <a:bodyPr/>
        <a:lstStyle/>
        <a:p>
          <a:endParaRPr lang="en-US" sz="2000"/>
        </a:p>
      </dgm:t>
    </dgm:pt>
    <dgm:pt modelId="{599E3296-C316-405C-B222-CEA737D995B5}" type="sibTrans" cxnId="{C159F786-ED38-476E-9CAF-598C4BA6A40C}">
      <dgm:prSet/>
      <dgm:spPr/>
      <dgm:t>
        <a:bodyPr/>
        <a:lstStyle/>
        <a:p>
          <a:endParaRPr lang="en-US" sz="2000"/>
        </a:p>
      </dgm:t>
    </dgm:pt>
    <dgm:pt modelId="{563BDB53-F022-44D5-A994-7DED9242388F}">
      <dgm:prSet custT="1"/>
      <dgm:spPr/>
      <dgm:t>
        <a:bodyPr/>
        <a:lstStyle/>
        <a:p>
          <a:pPr rtl="0"/>
          <a:r>
            <a:rPr lang="en-US" sz="1600" b="1" u="sng" dirty="0" smtClean="0"/>
            <a:t>Task model:</a:t>
          </a:r>
          <a:r>
            <a:rPr lang="en-US" sz="1600" dirty="0" smtClean="0"/>
            <a:t> understands the context of the task user is trying and provide assistance </a:t>
          </a:r>
          <a:endParaRPr lang="en-US" sz="1600" dirty="0"/>
        </a:p>
      </dgm:t>
    </dgm:pt>
    <dgm:pt modelId="{3D99B9D3-036F-4B86-B0E2-A658DBBECB0D}" type="parTrans" cxnId="{3AE45D05-FF04-4313-A392-D71504CDB294}">
      <dgm:prSet/>
      <dgm:spPr/>
      <dgm:t>
        <a:bodyPr/>
        <a:lstStyle/>
        <a:p>
          <a:endParaRPr lang="en-US" sz="2000"/>
        </a:p>
      </dgm:t>
    </dgm:pt>
    <dgm:pt modelId="{53A9DF38-5152-4CC3-B7FF-92A98B26A487}" type="sibTrans" cxnId="{3AE45D05-FF04-4313-A392-D71504CDB294}">
      <dgm:prSet/>
      <dgm:spPr/>
      <dgm:t>
        <a:bodyPr/>
        <a:lstStyle/>
        <a:p>
          <a:endParaRPr lang="en-US" sz="2000"/>
        </a:p>
      </dgm:t>
    </dgm:pt>
    <dgm:pt modelId="{F6307309-103E-47AF-B4CF-3A814DB640F9}">
      <dgm:prSet custT="1"/>
      <dgm:spPr/>
      <dgm:t>
        <a:bodyPr/>
        <a:lstStyle/>
        <a:p>
          <a:pPr rtl="0"/>
          <a:r>
            <a:rPr lang="en-US" sz="1400" dirty="0" smtClean="0"/>
            <a:t>Correct spelling during typing but not during password entry</a:t>
          </a:r>
          <a:endParaRPr lang="en-US" sz="1400" dirty="0"/>
        </a:p>
      </dgm:t>
    </dgm:pt>
    <dgm:pt modelId="{E6CCEFDB-E9CF-4440-A9C6-AD2740CBCCC3}" type="parTrans" cxnId="{FF6DF8D3-F426-4B10-AEC7-0F691A802EF6}">
      <dgm:prSet/>
      <dgm:spPr/>
      <dgm:t>
        <a:bodyPr/>
        <a:lstStyle/>
        <a:p>
          <a:endParaRPr lang="en-US" sz="2000"/>
        </a:p>
      </dgm:t>
    </dgm:pt>
    <dgm:pt modelId="{DFA021AF-D60B-4DBB-8240-EA9C8C6CDB4E}" type="sibTrans" cxnId="{FF6DF8D3-F426-4B10-AEC7-0F691A802EF6}">
      <dgm:prSet/>
      <dgm:spPr/>
      <dgm:t>
        <a:bodyPr/>
        <a:lstStyle/>
        <a:p>
          <a:endParaRPr lang="en-US" sz="2000"/>
        </a:p>
      </dgm:t>
    </dgm:pt>
    <dgm:pt modelId="{AFCA2418-8D6B-4E9C-BE52-FC74C908050F}">
      <dgm:prSet custT="1"/>
      <dgm:spPr/>
      <dgm:t>
        <a:bodyPr/>
        <a:lstStyle/>
        <a:p>
          <a:pPr rtl="0"/>
          <a:r>
            <a:rPr lang="en-US" sz="1600" b="1" u="sng" dirty="0" smtClean="0"/>
            <a:t>User model: </a:t>
          </a:r>
          <a:r>
            <a:rPr lang="en-US" sz="1600" dirty="0" smtClean="0"/>
            <a:t>understands who the user is and takes action</a:t>
          </a:r>
          <a:endParaRPr lang="en-US" sz="1600" dirty="0"/>
        </a:p>
      </dgm:t>
    </dgm:pt>
    <dgm:pt modelId="{4E25AF54-5C18-4905-8913-7D1EA2AC6905}" type="parTrans" cxnId="{482DB792-4616-4429-8146-834A4E403FCA}">
      <dgm:prSet/>
      <dgm:spPr/>
      <dgm:t>
        <a:bodyPr/>
        <a:lstStyle/>
        <a:p>
          <a:endParaRPr lang="en-US" sz="2000"/>
        </a:p>
      </dgm:t>
    </dgm:pt>
    <dgm:pt modelId="{2863A287-FD1D-46AB-958E-D6DB7D840902}" type="sibTrans" cxnId="{482DB792-4616-4429-8146-834A4E403FCA}">
      <dgm:prSet/>
      <dgm:spPr/>
      <dgm:t>
        <a:bodyPr/>
        <a:lstStyle/>
        <a:p>
          <a:endParaRPr lang="en-US" sz="2000"/>
        </a:p>
      </dgm:t>
    </dgm:pt>
    <dgm:pt modelId="{F89FC749-F50C-4BBF-9E56-3E28891C9081}">
      <dgm:prSet custT="1"/>
      <dgm:spPr/>
      <dgm:t>
        <a:bodyPr/>
        <a:lstStyle/>
        <a:p>
          <a:pPr rtl="0"/>
          <a:r>
            <a:rPr lang="en-US" sz="1400" dirty="0" smtClean="0"/>
            <a:t>Adjust scrolling speed, user specific customization, locale specific adjustment</a:t>
          </a:r>
          <a:endParaRPr lang="en-US" sz="1400" dirty="0"/>
        </a:p>
      </dgm:t>
    </dgm:pt>
    <dgm:pt modelId="{8D96278E-9F24-4F57-A0C7-D7EED281DE9D}" type="parTrans" cxnId="{6FD2CBE2-FAA5-46C4-BB69-296201DB665C}">
      <dgm:prSet/>
      <dgm:spPr/>
      <dgm:t>
        <a:bodyPr/>
        <a:lstStyle/>
        <a:p>
          <a:endParaRPr lang="en-US" sz="2000"/>
        </a:p>
      </dgm:t>
    </dgm:pt>
    <dgm:pt modelId="{7B2AAD9B-D195-4AB1-B773-7AC2F9013FD7}" type="sibTrans" cxnId="{6FD2CBE2-FAA5-46C4-BB69-296201DB665C}">
      <dgm:prSet/>
      <dgm:spPr/>
      <dgm:t>
        <a:bodyPr/>
        <a:lstStyle/>
        <a:p>
          <a:endParaRPr lang="en-US" sz="2000"/>
        </a:p>
      </dgm:t>
    </dgm:pt>
    <dgm:pt modelId="{830BFD2B-F1DC-48CD-8359-2EF69B3F4845}">
      <dgm:prSet custT="1"/>
      <dgm:spPr/>
      <dgm:t>
        <a:bodyPr/>
        <a:lstStyle/>
        <a:p>
          <a:pPr rtl="0"/>
          <a:r>
            <a:rPr lang="en-US" sz="1600" b="1" u="sng" dirty="0" smtClean="0"/>
            <a:t>System model: </a:t>
          </a:r>
          <a:r>
            <a:rPr lang="en-US" sz="1600" dirty="0" smtClean="0"/>
            <a:t/>
          </a:r>
          <a:br>
            <a:rPr lang="en-US" sz="1600" dirty="0" smtClean="0"/>
          </a:br>
          <a:r>
            <a:rPr lang="en-US" sz="1600" dirty="0" smtClean="0"/>
            <a:t>gets the current state of the system and responds</a:t>
          </a:r>
          <a:endParaRPr lang="en-US" sz="1600" dirty="0"/>
        </a:p>
      </dgm:t>
    </dgm:pt>
    <dgm:pt modelId="{730934AA-743C-4E3A-B992-EDC75BC49F7E}" type="parTrans" cxnId="{DD0B0603-DE3A-4EB7-9BD3-6BE1B7B6970C}">
      <dgm:prSet/>
      <dgm:spPr/>
      <dgm:t>
        <a:bodyPr/>
        <a:lstStyle/>
        <a:p>
          <a:endParaRPr lang="en-US" sz="2000"/>
        </a:p>
      </dgm:t>
    </dgm:pt>
    <dgm:pt modelId="{CA352F9D-285E-447C-BD62-78B44998D479}" type="sibTrans" cxnId="{DD0B0603-DE3A-4EB7-9BD3-6BE1B7B6970C}">
      <dgm:prSet/>
      <dgm:spPr/>
      <dgm:t>
        <a:bodyPr/>
        <a:lstStyle/>
        <a:p>
          <a:endParaRPr lang="en-US" sz="2000"/>
        </a:p>
      </dgm:t>
    </dgm:pt>
    <dgm:pt modelId="{FFEF3706-CF93-4454-94B8-9B70F84566E7}">
      <dgm:prSet custT="1"/>
      <dgm:spPr/>
      <dgm:t>
        <a:bodyPr/>
        <a:lstStyle/>
        <a:p>
          <a:pPr rtl="0"/>
          <a:r>
            <a:rPr lang="en-US" sz="1400" smtClean="0"/>
            <a:t>Time needed to complete a task</a:t>
          </a:r>
          <a:endParaRPr lang="en-US" sz="1400"/>
        </a:p>
      </dgm:t>
    </dgm:pt>
    <dgm:pt modelId="{697F9D67-01B5-429B-A07B-292B7521B5D3}" type="parTrans" cxnId="{680A5C38-52D9-453C-9F92-6F12583B133B}">
      <dgm:prSet/>
      <dgm:spPr/>
      <dgm:t>
        <a:bodyPr/>
        <a:lstStyle/>
        <a:p>
          <a:endParaRPr lang="en-US" sz="2000"/>
        </a:p>
      </dgm:t>
    </dgm:pt>
    <dgm:pt modelId="{ED18F42A-5DCB-4B14-B270-532961FA3152}" type="sibTrans" cxnId="{680A5C38-52D9-453C-9F92-6F12583B133B}">
      <dgm:prSet/>
      <dgm:spPr/>
      <dgm:t>
        <a:bodyPr/>
        <a:lstStyle/>
        <a:p>
          <a:endParaRPr lang="en-US" sz="2000"/>
        </a:p>
      </dgm:t>
    </dgm:pt>
    <dgm:pt modelId="{E9F5810C-05C5-4937-8779-609DD6BD5CFD}" type="pres">
      <dgm:prSet presAssocID="{A26E1133-27F8-42A1-91FE-23383B9ACC9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5A00B3E-FEA8-439F-999E-8DB6BC95DBC0}" type="pres">
      <dgm:prSet presAssocID="{43BDC9E6-B3ED-4E11-B81F-A36F96CA06AD}" presName="hierRoot1" presStyleCnt="0">
        <dgm:presLayoutVars>
          <dgm:hierBranch val="init"/>
        </dgm:presLayoutVars>
      </dgm:prSet>
      <dgm:spPr/>
    </dgm:pt>
    <dgm:pt modelId="{305CB9B7-E4C6-453D-AC39-1DA3FA25C576}" type="pres">
      <dgm:prSet presAssocID="{43BDC9E6-B3ED-4E11-B81F-A36F96CA06AD}" presName="rootComposite1" presStyleCnt="0"/>
      <dgm:spPr/>
    </dgm:pt>
    <dgm:pt modelId="{1AD90FEA-3135-49C2-A3C0-CFEDDC6405B3}" type="pres">
      <dgm:prSet presAssocID="{43BDC9E6-B3ED-4E11-B81F-A36F96CA06AD}" presName="rootText1" presStyleLbl="node0" presStyleIdx="0" presStyleCnt="1" custScaleX="217502" custLinFactNeighborX="1602" custLinFactNeighborY="-451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86BC6-06CE-4768-9942-F4420543D5EE}" type="pres">
      <dgm:prSet presAssocID="{43BDC9E6-B3ED-4E11-B81F-A36F96CA06A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C72B6B4-B63E-4FE2-8CC2-5FA221770366}" type="pres">
      <dgm:prSet presAssocID="{43BDC9E6-B3ED-4E11-B81F-A36F96CA06AD}" presName="hierChild2" presStyleCnt="0"/>
      <dgm:spPr/>
    </dgm:pt>
    <dgm:pt modelId="{A3BC68A0-CABF-4126-884C-C90818E1E26E}" type="pres">
      <dgm:prSet presAssocID="{3EEFE082-C4FA-499A-BA01-E4B8217A4B73}" presName="Name37" presStyleLbl="parChTrans1D2" presStyleIdx="0" presStyleCnt="2"/>
      <dgm:spPr/>
      <dgm:t>
        <a:bodyPr/>
        <a:lstStyle/>
        <a:p>
          <a:endParaRPr lang="en-US"/>
        </a:p>
      </dgm:t>
    </dgm:pt>
    <dgm:pt modelId="{9B84C5AA-6259-445A-8F7A-6D366FCBB4AD}" type="pres">
      <dgm:prSet presAssocID="{843E3B21-DC9F-4CF8-A7F1-93BF704E47A7}" presName="hierRoot2" presStyleCnt="0">
        <dgm:presLayoutVars>
          <dgm:hierBranch val="init"/>
        </dgm:presLayoutVars>
      </dgm:prSet>
      <dgm:spPr/>
    </dgm:pt>
    <dgm:pt modelId="{F324FB99-E565-440D-9319-A2867DA87756}" type="pres">
      <dgm:prSet presAssocID="{843E3B21-DC9F-4CF8-A7F1-93BF704E47A7}" presName="rootComposite" presStyleCnt="0"/>
      <dgm:spPr/>
    </dgm:pt>
    <dgm:pt modelId="{5E5C4910-D5C2-4117-9825-0F4E2308A1D4}" type="pres">
      <dgm:prSet presAssocID="{843E3B21-DC9F-4CF8-A7F1-93BF704E47A7}" presName="rootText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B22B6A5-BFAD-4E5F-BED0-C002FA69FEEF}" type="pres">
      <dgm:prSet presAssocID="{843E3B21-DC9F-4CF8-A7F1-93BF704E47A7}" presName="rootConnector" presStyleLbl="node2" presStyleIdx="0" presStyleCnt="2"/>
      <dgm:spPr/>
      <dgm:t>
        <a:bodyPr/>
        <a:lstStyle/>
        <a:p>
          <a:endParaRPr lang="en-US"/>
        </a:p>
      </dgm:t>
    </dgm:pt>
    <dgm:pt modelId="{16186025-4BC6-46E2-97F6-F9084F02632D}" type="pres">
      <dgm:prSet presAssocID="{843E3B21-DC9F-4CF8-A7F1-93BF704E47A7}" presName="hierChild4" presStyleCnt="0"/>
      <dgm:spPr/>
    </dgm:pt>
    <dgm:pt modelId="{AEDC7120-FE6F-49D8-95F2-AB1B2B6AC9A8}" type="pres">
      <dgm:prSet presAssocID="{F0BD47AB-7AC9-40A2-A96D-1A911EFDE7FF}" presName="Name37" presStyleLbl="parChTrans1D3" presStyleIdx="0" presStyleCnt="4"/>
      <dgm:spPr/>
      <dgm:t>
        <a:bodyPr/>
        <a:lstStyle/>
        <a:p>
          <a:endParaRPr lang="en-US"/>
        </a:p>
      </dgm:t>
    </dgm:pt>
    <dgm:pt modelId="{F65159AB-B6AE-4C58-BE85-DB4966F15FBA}" type="pres">
      <dgm:prSet presAssocID="{A240A1E1-162D-4A6E-A806-B6FF45B3AB68}" presName="hierRoot2" presStyleCnt="0">
        <dgm:presLayoutVars>
          <dgm:hierBranch val="init"/>
        </dgm:presLayoutVars>
      </dgm:prSet>
      <dgm:spPr/>
    </dgm:pt>
    <dgm:pt modelId="{4413A7CD-B07B-4481-95F7-63264BEB8326}" type="pres">
      <dgm:prSet presAssocID="{A240A1E1-162D-4A6E-A806-B6FF45B3AB68}" presName="rootComposite" presStyleCnt="0"/>
      <dgm:spPr/>
    </dgm:pt>
    <dgm:pt modelId="{6E033C69-6BA8-4812-AE4E-0022A986E944}" type="pres">
      <dgm:prSet presAssocID="{A240A1E1-162D-4A6E-A806-B6FF45B3AB68}" presName="rootText" presStyleLbl="node3" presStyleIdx="0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C564F4-BF5C-4321-B86B-65391CEDEFC7}" type="pres">
      <dgm:prSet presAssocID="{A240A1E1-162D-4A6E-A806-B6FF45B3AB68}" presName="rootConnector" presStyleLbl="node3" presStyleIdx="0" presStyleCnt="4"/>
      <dgm:spPr/>
      <dgm:t>
        <a:bodyPr/>
        <a:lstStyle/>
        <a:p>
          <a:endParaRPr lang="en-US"/>
        </a:p>
      </dgm:t>
    </dgm:pt>
    <dgm:pt modelId="{7C0A51FE-5187-4FBA-A9F6-DFFAA1B3DD3E}" type="pres">
      <dgm:prSet presAssocID="{A240A1E1-162D-4A6E-A806-B6FF45B3AB68}" presName="hierChild4" presStyleCnt="0"/>
      <dgm:spPr/>
    </dgm:pt>
    <dgm:pt modelId="{A5F1F6CB-B812-4FEA-ACD0-E838992C8274}" type="pres">
      <dgm:prSet presAssocID="{A240A1E1-162D-4A6E-A806-B6FF45B3AB68}" presName="hierChild5" presStyleCnt="0"/>
      <dgm:spPr/>
    </dgm:pt>
    <dgm:pt modelId="{82355405-192E-42E7-B905-7A6FE845C6D9}" type="pres">
      <dgm:prSet presAssocID="{843E3B21-DC9F-4CF8-A7F1-93BF704E47A7}" presName="hierChild5" presStyleCnt="0"/>
      <dgm:spPr/>
    </dgm:pt>
    <dgm:pt modelId="{B562ECC0-9994-4B01-9E77-D5C13C496118}" type="pres">
      <dgm:prSet presAssocID="{54165FB5-F7A3-4BBF-B199-2BE2BA410DE8}" presName="Name37" presStyleLbl="parChTrans1D2" presStyleIdx="1" presStyleCnt="2"/>
      <dgm:spPr/>
      <dgm:t>
        <a:bodyPr/>
        <a:lstStyle/>
        <a:p>
          <a:endParaRPr lang="en-US"/>
        </a:p>
      </dgm:t>
    </dgm:pt>
    <dgm:pt modelId="{E18799E9-9DA7-423F-B7B3-369EFE76B3B6}" type="pres">
      <dgm:prSet presAssocID="{C35FC96E-9015-4790-BDC3-6E0D4D502FCB}" presName="hierRoot2" presStyleCnt="0">
        <dgm:presLayoutVars>
          <dgm:hierBranch val="init"/>
        </dgm:presLayoutVars>
      </dgm:prSet>
      <dgm:spPr/>
    </dgm:pt>
    <dgm:pt modelId="{354F8417-6C70-4131-8450-E52EDD2EFA17}" type="pres">
      <dgm:prSet presAssocID="{C35FC96E-9015-4790-BDC3-6E0D4D502FCB}" presName="rootComposite" presStyleCnt="0"/>
      <dgm:spPr/>
    </dgm:pt>
    <dgm:pt modelId="{67A44139-B3F0-4118-89E8-A44A0D503C36}" type="pres">
      <dgm:prSet presAssocID="{C35FC96E-9015-4790-BDC3-6E0D4D502FCB}" presName="rootText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2267437-59D9-4F70-9854-AF295901641A}" type="pres">
      <dgm:prSet presAssocID="{C35FC96E-9015-4790-BDC3-6E0D4D502FCB}" presName="rootConnector" presStyleLbl="node2" presStyleIdx="1" presStyleCnt="2"/>
      <dgm:spPr/>
      <dgm:t>
        <a:bodyPr/>
        <a:lstStyle/>
        <a:p>
          <a:endParaRPr lang="en-US"/>
        </a:p>
      </dgm:t>
    </dgm:pt>
    <dgm:pt modelId="{A6AF8EE9-DBFC-447B-8940-E76A065FD97B}" type="pres">
      <dgm:prSet presAssocID="{C35FC96E-9015-4790-BDC3-6E0D4D502FCB}" presName="hierChild4" presStyleCnt="0"/>
      <dgm:spPr/>
    </dgm:pt>
    <dgm:pt modelId="{6D3A634C-FD35-4F86-A796-3DD5919F86EB}" type="pres">
      <dgm:prSet presAssocID="{3D99B9D3-036F-4B86-B0E2-A658DBBECB0D}" presName="Name37" presStyleLbl="parChTrans1D3" presStyleIdx="1" presStyleCnt="4"/>
      <dgm:spPr/>
      <dgm:t>
        <a:bodyPr/>
        <a:lstStyle/>
        <a:p>
          <a:endParaRPr lang="en-US"/>
        </a:p>
      </dgm:t>
    </dgm:pt>
    <dgm:pt modelId="{4B03DC64-2348-4C35-8557-3DC745770699}" type="pres">
      <dgm:prSet presAssocID="{563BDB53-F022-44D5-A994-7DED9242388F}" presName="hierRoot2" presStyleCnt="0">
        <dgm:presLayoutVars>
          <dgm:hierBranch val="init"/>
        </dgm:presLayoutVars>
      </dgm:prSet>
      <dgm:spPr/>
    </dgm:pt>
    <dgm:pt modelId="{EEB90F04-A0EB-4C04-B420-2EF090561DAF}" type="pres">
      <dgm:prSet presAssocID="{563BDB53-F022-44D5-A994-7DED9242388F}" presName="rootComposite" presStyleCnt="0"/>
      <dgm:spPr/>
    </dgm:pt>
    <dgm:pt modelId="{4B399877-997D-4C5A-AE6B-CFCEE605BB65}" type="pres">
      <dgm:prSet presAssocID="{563BDB53-F022-44D5-A994-7DED9242388F}" presName="rootText" presStyleLbl="node3" presStyleIdx="1" presStyleCnt="4" custScaleY="17550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824EBDA-4B5C-4410-BDF7-EDBCCC6DE89B}" type="pres">
      <dgm:prSet presAssocID="{563BDB53-F022-44D5-A994-7DED9242388F}" presName="rootConnector" presStyleLbl="node3" presStyleIdx="1" presStyleCnt="4"/>
      <dgm:spPr/>
      <dgm:t>
        <a:bodyPr/>
        <a:lstStyle/>
        <a:p>
          <a:endParaRPr lang="en-US"/>
        </a:p>
      </dgm:t>
    </dgm:pt>
    <dgm:pt modelId="{A0FE2A0F-F998-49FE-8C93-B3A94C194044}" type="pres">
      <dgm:prSet presAssocID="{563BDB53-F022-44D5-A994-7DED9242388F}" presName="hierChild4" presStyleCnt="0"/>
      <dgm:spPr/>
    </dgm:pt>
    <dgm:pt modelId="{0B841EBD-1CB9-4926-9414-31830C10A48C}" type="pres">
      <dgm:prSet presAssocID="{E6CCEFDB-E9CF-4440-A9C6-AD2740CBCCC3}" presName="Name37" presStyleLbl="parChTrans1D4" presStyleIdx="0" presStyleCnt="3"/>
      <dgm:spPr/>
      <dgm:t>
        <a:bodyPr/>
        <a:lstStyle/>
        <a:p>
          <a:endParaRPr lang="en-US"/>
        </a:p>
      </dgm:t>
    </dgm:pt>
    <dgm:pt modelId="{CEF4526B-2E15-4BA7-B296-37BEFAE00285}" type="pres">
      <dgm:prSet presAssocID="{F6307309-103E-47AF-B4CF-3A814DB640F9}" presName="hierRoot2" presStyleCnt="0">
        <dgm:presLayoutVars>
          <dgm:hierBranch val="init"/>
        </dgm:presLayoutVars>
      </dgm:prSet>
      <dgm:spPr/>
    </dgm:pt>
    <dgm:pt modelId="{010D02BF-3B09-49FE-872F-0974596CF5F9}" type="pres">
      <dgm:prSet presAssocID="{F6307309-103E-47AF-B4CF-3A814DB640F9}" presName="rootComposite" presStyleCnt="0"/>
      <dgm:spPr/>
    </dgm:pt>
    <dgm:pt modelId="{5A06C29A-3126-48BF-B144-189375FD0329}" type="pres">
      <dgm:prSet presAssocID="{F6307309-103E-47AF-B4CF-3A814DB640F9}" presName="rootText" presStyleLbl="node4" presStyleIdx="0" presStyleCnt="3" custLinFactNeighborX="1456" custLinFactNeighborY="2336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3F80813-65D3-4BC5-96C1-9A5D5AEADB97}" type="pres">
      <dgm:prSet presAssocID="{F6307309-103E-47AF-B4CF-3A814DB640F9}" presName="rootConnector" presStyleLbl="node4" presStyleIdx="0" presStyleCnt="3"/>
      <dgm:spPr/>
      <dgm:t>
        <a:bodyPr/>
        <a:lstStyle/>
        <a:p>
          <a:endParaRPr lang="en-US"/>
        </a:p>
      </dgm:t>
    </dgm:pt>
    <dgm:pt modelId="{B26E3E9A-5407-4F8C-AA62-043DE696085D}" type="pres">
      <dgm:prSet presAssocID="{F6307309-103E-47AF-B4CF-3A814DB640F9}" presName="hierChild4" presStyleCnt="0"/>
      <dgm:spPr/>
    </dgm:pt>
    <dgm:pt modelId="{727E4B89-A828-454D-AE78-DEDE4A0C1473}" type="pres">
      <dgm:prSet presAssocID="{F6307309-103E-47AF-B4CF-3A814DB640F9}" presName="hierChild5" presStyleCnt="0"/>
      <dgm:spPr/>
    </dgm:pt>
    <dgm:pt modelId="{423AF3AB-9A6B-4A1D-8AF9-C44D00B522E0}" type="pres">
      <dgm:prSet presAssocID="{563BDB53-F022-44D5-A994-7DED9242388F}" presName="hierChild5" presStyleCnt="0"/>
      <dgm:spPr/>
    </dgm:pt>
    <dgm:pt modelId="{2BC6CEE4-3F67-4FA6-8639-65EC4CCFF4D9}" type="pres">
      <dgm:prSet presAssocID="{4E25AF54-5C18-4905-8913-7D1EA2AC6905}" presName="Name37" presStyleLbl="parChTrans1D3" presStyleIdx="2" presStyleCnt="4"/>
      <dgm:spPr/>
      <dgm:t>
        <a:bodyPr/>
        <a:lstStyle/>
        <a:p>
          <a:endParaRPr lang="en-US"/>
        </a:p>
      </dgm:t>
    </dgm:pt>
    <dgm:pt modelId="{56EAD692-CF12-4F08-9E91-48B2A708FB71}" type="pres">
      <dgm:prSet presAssocID="{AFCA2418-8D6B-4E9C-BE52-FC74C908050F}" presName="hierRoot2" presStyleCnt="0">
        <dgm:presLayoutVars>
          <dgm:hierBranch val="init"/>
        </dgm:presLayoutVars>
      </dgm:prSet>
      <dgm:spPr/>
    </dgm:pt>
    <dgm:pt modelId="{17485795-B1F1-44AB-A6F9-533EF86E010F}" type="pres">
      <dgm:prSet presAssocID="{AFCA2418-8D6B-4E9C-BE52-FC74C908050F}" presName="rootComposite" presStyleCnt="0"/>
      <dgm:spPr/>
    </dgm:pt>
    <dgm:pt modelId="{1B4F947A-69EB-46FF-A1EA-7664283D213E}" type="pres">
      <dgm:prSet presAssocID="{AFCA2418-8D6B-4E9C-BE52-FC74C908050F}" presName="rootText" presStyleLbl="node3" presStyleIdx="2" presStyleCnt="4" custScaleY="13894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553D0C6-AEE4-4F65-8DAC-62449D94D6A7}" type="pres">
      <dgm:prSet presAssocID="{AFCA2418-8D6B-4E9C-BE52-FC74C908050F}" presName="rootConnector" presStyleLbl="node3" presStyleIdx="2" presStyleCnt="4"/>
      <dgm:spPr/>
      <dgm:t>
        <a:bodyPr/>
        <a:lstStyle/>
        <a:p>
          <a:endParaRPr lang="en-US"/>
        </a:p>
      </dgm:t>
    </dgm:pt>
    <dgm:pt modelId="{704B6FE3-1A93-464C-BD7D-26786EA03069}" type="pres">
      <dgm:prSet presAssocID="{AFCA2418-8D6B-4E9C-BE52-FC74C908050F}" presName="hierChild4" presStyleCnt="0"/>
      <dgm:spPr/>
    </dgm:pt>
    <dgm:pt modelId="{7F79E16A-DCA2-4B41-B9FB-041F5F8C0836}" type="pres">
      <dgm:prSet presAssocID="{8D96278E-9F24-4F57-A0C7-D7EED281DE9D}" presName="Name37" presStyleLbl="parChTrans1D4" presStyleIdx="1" presStyleCnt="3"/>
      <dgm:spPr/>
      <dgm:t>
        <a:bodyPr/>
        <a:lstStyle/>
        <a:p>
          <a:endParaRPr lang="en-US"/>
        </a:p>
      </dgm:t>
    </dgm:pt>
    <dgm:pt modelId="{7AB126A4-7DFD-4B1F-AAA9-8F64B31288B9}" type="pres">
      <dgm:prSet presAssocID="{F89FC749-F50C-4BBF-9E56-3E28891C9081}" presName="hierRoot2" presStyleCnt="0">
        <dgm:presLayoutVars>
          <dgm:hierBranch val="init"/>
        </dgm:presLayoutVars>
      </dgm:prSet>
      <dgm:spPr/>
    </dgm:pt>
    <dgm:pt modelId="{DA546668-493A-41C6-997B-5D5FCC12835E}" type="pres">
      <dgm:prSet presAssocID="{F89FC749-F50C-4BBF-9E56-3E28891C9081}" presName="rootComposite" presStyleCnt="0"/>
      <dgm:spPr/>
    </dgm:pt>
    <dgm:pt modelId="{024F55D6-668B-49E1-A8E7-A40E7D340D0A}" type="pres">
      <dgm:prSet presAssocID="{F89FC749-F50C-4BBF-9E56-3E28891C9081}" presName="rootText" presStyleLbl="node4" presStyleIdx="1" presStyleCnt="3" custLinFactNeighborX="1853" custLinFactNeighborY="4284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D31A8FA-55C8-4B2E-BA13-7C6E21696CC9}" type="pres">
      <dgm:prSet presAssocID="{F89FC749-F50C-4BBF-9E56-3E28891C9081}" presName="rootConnector" presStyleLbl="node4" presStyleIdx="1" presStyleCnt="3"/>
      <dgm:spPr/>
      <dgm:t>
        <a:bodyPr/>
        <a:lstStyle/>
        <a:p>
          <a:endParaRPr lang="en-US"/>
        </a:p>
      </dgm:t>
    </dgm:pt>
    <dgm:pt modelId="{A0765EF4-6FED-4F03-A673-4F03D12039A5}" type="pres">
      <dgm:prSet presAssocID="{F89FC749-F50C-4BBF-9E56-3E28891C9081}" presName="hierChild4" presStyleCnt="0"/>
      <dgm:spPr/>
    </dgm:pt>
    <dgm:pt modelId="{479FBDC3-5285-4024-B098-337ED3F183B2}" type="pres">
      <dgm:prSet presAssocID="{F89FC749-F50C-4BBF-9E56-3E28891C9081}" presName="hierChild5" presStyleCnt="0"/>
      <dgm:spPr/>
    </dgm:pt>
    <dgm:pt modelId="{DA9CB0A7-0D84-4FCC-8CAA-C663566F179D}" type="pres">
      <dgm:prSet presAssocID="{AFCA2418-8D6B-4E9C-BE52-FC74C908050F}" presName="hierChild5" presStyleCnt="0"/>
      <dgm:spPr/>
    </dgm:pt>
    <dgm:pt modelId="{F396F561-0193-4DAC-94AB-FC3EEAD38895}" type="pres">
      <dgm:prSet presAssocID="{730934AA-743C-4E3A-B992-EDC75BC49F7E}" presName="Name37" presStyleLbl="parChTrans1D3" presStyleIdx="3" presStyleCnt="4"/>
      <dgm:spPr/>
      <dgm:t>
        <a:bodyPr/>
        <a:lstStyle/>
        <a:p>
          <a:endParaRPr lang="en-US"/>
        </a:p>
      </dgm:t>
    </dgm:pt>
    <dgm:pt modelId="{576BA9E2-9384-4C0F-A8DE-0AB334418AF7}" type="pres">
      <dgm:prSet presAssocID="{830BFD2B-F1DC-48CD-8359-2EF69B3F4845}" presName="hierRoot2" presStyleCnt="0">
        <dgm:presLayoutVars>
          <dgm:hierBranch val="init"/>
        </dgm:presLayoutVars>
      </dgm:prSet>
      <dgm:spPr/>
    </dgm:pt>
    <dgm:pt modelId="{6FAAD041-B297-4EFA-9523-2E8BFFA4D2D7}" type="pres">
      <dgm:prSet presAssocID="{830BFD2B-F1DC-48CD-8359-2EF69B3F4845}" presName="rootComposite" presStyleCnt="0"/>
      <dgm:spPr/>
    </dgm:pt>
    <dgm:pt modelId="{567C9F04-89A6-446A-9930-6A15977E58BC}" type="pres">
      <dgm:prSet presAssocID="{830BFD2B-F1DC-48CD-8359-2EF69B3F4845}" presName="rootText" presStyleLbl="node3" presStyleIdx="3" presStyleCnt="4" custScaleY="13814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3F832A4-0FD8-482A-82E7-9C0BC4E29954}" type="pres">
      <dgm:prSet presAssocID="{830BFD2B-F1DC-48CD-8359-2EF69B3F4845}" presName="rootConnector" presStyleLbl="node3" presStyleIdx="3" presStyleCnt="4"/>
      <dgm:spPr/>
      <dgm:t>
        <a:bodyPr/>
        <a:lstStyle/>
        <a:p>
          <a:endParaRPr lang="en-US"/>
        </a:p>
      </dgm:t>
    </dgm:pt>
    <dgm:pt modelId="{0AFCAC7A-4881-4B5E-B26A-7386E044366F}" type="pres">
      <dgm:prSet presAssocID="{830BFD2B-F1DC-48CD-8359-2EF69B3F4845}" presName="hierChild4" presStyleCnt="0"/>
      <dgm:spPr/>
    </dgm:pt>
    <dgm:pt modelId="{A56E760A-4B69-4701-AE07-CDC836D2FC5F}" type="pres">
      <dgm:prSet presAssocID="{697F9D67-01B5-429B-A07B-292B7521B5D3}" presName="Name37" presStyleLbl="parChTrans1D4" presStyleIdx="2" presStyleCnt="3"/>
      <dgm:spPr/>
      <dgm:t>
        <a:bodyPr/>
        <a:lstStyle/>
        <a:p>
          <a:endParaRPr lang="en-US"/>
        </a:p>
      </dgm:t>
    </dgm:pt>
    <dgm:pt modelId="{DFC4DA75-EEA4-4418-A59F-52FFC71FA29F}" type="pres">
      <dgm:prSet presAssocID="{FFEF3706-CF93-4454-94B8-9B70F84566E7}" presName="hierRoot2" presStyleCnt="0">
        <dgm:presLayoutVars>
          <dgm:hierBranch val="init"/>
        </dgm:presLayoutVars>
      </dgm:prSet>
      <dgm:spPr/>
    </dgm:pt>
    <dgm:pt modelId="{95087660-D0E6-475E-8E1B-E152A02BFB42}" type="pres">
      <dgm:prSet presAssocID="{FFEF3706-CF93-4454-94B8-9B70F84566E7}" presName="rootComposite" presStyleCnt="0"/>
      <dgm:spPr/>
    </dgm:pt>
    <dgm:pt modelId="{C8DE60D5-3BFA-4B18-89C8-1F812DCD88C1}" type="pres">
      <dgm:prSet presAssocID="{FFEF3706-CF93-4454-94B8-9B70F84566E7}" presName="rootText" presStyleLbl="node4" presStyleIdx="2" presStyleCnt="3" custLinFactNeighborX="2251" custLinFactNeighborY="4284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386C66D-20E4-49EB-959B-5421CC1E3F82}" type="pres">
      <dgm:prSet presAssocID="{FFEF3706-CF93-4454-94B8-9B70F84566E7}" presName="rootConnector" presStyleLbl="node4" presStyleIdx="2" presStyleCnt="3"/>
      <dgm:spPr/>
      <dgm:t>
        <a:bodyPr/>
        <a:lstStyle/>
        <a:p>
          <a:endParaRPr lang="en-US"/>
        </a:p>
      </dgm:t>
    </dgm:pt>
    <dgm:pt modelId="{BA3FC4F3-FEC8-4F42-82C5-08FE87E50440}" type="pres">
      <dgm:prSet presAssocID="{FFEF3706-CF93-4454-94B8-9B70F84566E7}" presName="hierChild4" presStyleCnt="0"/>
      <dgm:spPr/>
    </dgm:pt>
    <dgm:pt modelId="{64677F8C-55CB-4D78-B640-403683A14DE4}" type="pres">
      <dgm:prSet presAssocID="{FFEF3706-CF93-4454-94B8-9B70F84566E7}" presName="hierChild5" presStyleCnt="0"/>
      <dgm:spPr/>
    </dgm:pt>
    <dgm:pt modelId="{4CEE377B-F75A-4927-843A-862BDB1E60D3}" type="pres">
      <dgm:prSet presAssocID="{830BFD2B-F1DC-48CD-8359-2EF69B3F4845}" presName="hierChild5" presStyleCnt="0"/>
      <dgm:spPr/>
    </dgm:pt>
    <dgm:pt modelId="{430C728D-004C-49FD-A0C1-71CD6E772786}" type="pres">
      <dgm:prSet presAssocID="{C35FC96E-9015-4790-BDC3-6E0D4D502FCB}" presName="hierChild5" presStyleCnt="0"/>
      <dgm:spPr/>
    </dgm:pt>
    <dgm:pt modelId="{B87F60ED-85BE-4872-BA6E-CDCB9CBDC6A3}" type="pres">
      <dgm:prSet presAssocID="{43BDC9E6-B3ED-4E11-B81F-A36F96CA06AD}" presName="hierChild3" presStyleCnt="0"/>
      <dgm:spPr/>
    </dgm:pt>
  </dgm:ptLst>
  <dgm:cxnLst>
    <dgm:cxn modelId="{3C110BFF-FD87-473E-9985-0D9D761E60BD}" srcId="{43BDC9E6-B3ED-4E11-B81F-A36F96CA06AD}" destId="{843E3B21-DC9F-4CF8-A7F1-93BF704E47A7}" srcOrd="0" destOrd="0" parTransId="{3EEFE082-C4FA-499A-BA01-E4B8217A4B73}" sibTransId="{2992CB8F-FBF4-486F-BE86-7AEC96D28238}"/>
    <dgm:cxn modelId="{E040E2E2-F016-4F82-9927-EA3D62DA0F57}" srcId="{A26E1133-27F8-42A1-91FE-23383B9ACC99}" destId="{43BDC9E6-B3ED-4E11-B81F-A36F96CA06AD}" srcOrd="0" destOrd="0" parTransId="{818B4425-229C-4D05-BD73-F2583AB7B9C5}" sibTransId="{A3D2AA9D-1D2C-45CA-9A99-0FD9E343747F}"/>
    <dgm:cxn modelId="{7F1CD915-2EF1-4007-BC3C-0213D4B04402}" type="presOf" srcId="{F6307309-103E-47AF-B4CF-3A814DB640F9}" destId="{5A06C29A-3126-48BF-B144-189375FD0329}" srcOrd="0" destOrd="0" presId="urn:microsoft.com/office/officeart/2005/8/layout/orgChart1"/>
    <dgm:cxn modelId="{806B5095-D4D5-4ACB-B384-CD7618D86E18}" type="presOf" srcId="{F89FC749-F50C-4BBF-9E56-3E28891C9081}" destId="{024F55D6-668B-49E1-A8E7-A40E7D340D0A}" srcOrd="0" destOrd="0" presId="urn:microsoft.com/office/officeart/2005/8/layout/orgChart1"/>
    <dgm:cxn modelId="{2C5D4142-3DCE-4442-A32A-C0DFC6906EE5}" type="presOf" srcId="{F0BD47AB-7AC9-40A2-A96D-1A911EFDE7FF}" destId="{AEDC7120-FE6F-49D8-95F2-AB1B2B6AC9A8}" srcOrd="0" destOrd="0" presId="urn:microsoft.com/office/officeart/2005/8/layout/orgChart1"/>
    <dgm:cxn modelId="{625F6BAC-5E26-4181-9254-EEA224484240}" type="presOf" srcId="{8D96278E-9F24-4F57-A0C7-D7EED281DE9D}" destId="{7F79E16A-DCA2-4B41-B9FB-041F5F8C0836}" srcOrd="0" destOrd="0" presId="urn:microsoft.com/office/officeart/2005/8/layout/orgChart1"/>
    <dgm:cxn modelId="{9038CC26-435A-49D6-8639-18F24F6FAC74}" type="presOf" srcId="{830BFD2B-F1DC-48CD-8359-2EF69B3F4845}" destId="{E3F832A4-0FD8-482A-82E7-9C0BC4E29954}" srcOrd="1" destOrd="0" presId="urn:microsoft.com/office/officeart/2005/8/layout/orgChart1"/>
    <dgm:cxn modelId="{680A5C38-52D9-453C-9F92-6F12583B133B}" srcId="{830BFD2B-F1DC-48CD-8359-2EF69B3F4845}" destId="{FFEF3706-CF93-4454-94B8-9B70F84566E7}" srcOrd="0" destOrd="0" parTransId="{697F9D67-01B5-429B-A07B-292B7521B5D3}" sibTransId="{ED18F42A-5DCB-4B14-B270-532961FA3152}"/>
    <dgm:cxn modelId="{410B5FE8-F42D-4C12-BC3E-7A7B47E8C741}" type="presOf" srcId="{F89FC749-F50C-4BBF-9E56-3E28891C9081}" destId="{8D31A8FA-55C8-4B2E-BA13-7C6E21696CC9}" srcOrd="1" destOrd="0" presId="urn:microsoft.com/office/officeart/2005/8/layout/orgChart1"/>
    <dgm:cxn modelId="{E14E52B8-6835-48FA-8A56-CB8E94A6754E}" type="presOf" srcId="{AFCA2418-8D6B-4E9C-BE52-FC74C908050F}" destId="{1B4F947A-69EB-46FF-A1EA-7664283D213E}" srcOrd="0" destOrd="0" presId="urn:microsoft.com/office/officeart/2005/8/layout/orgChart1"/>
    <dgm:cxn modelId="{F8399B72-E2E0-43D5-80C6-8975A9B9D59C}" type="presOf" srcId="{843E3B21-DC9F-4CF8-A7F1-93BF704E47A7}" destId="{AB22B6A5-BFAD-4E5F-BED0-C002FA69FEEF}" srcOrd="1" destOrd="0" presId="urn:microsoft.com/office/officeart/2005/8/layout/orgChart1"/>
    <dgm:cxn modelId="{C159F786-ED38-476E-9CAF-598C4BA6A40C}" srcId="{43BDC9E6-B3ED-4E11-B81F-A36F96CA06AD}" destId="{C35FC96E-9015-4790-BDC3-6E0D4D502FCB}" srcOrd="1" destOrd="0" parTransId="{54165FB5-F7A3-4BBF-B199-2BE2BA410DE8}" sibTransId="{599E3296-C316-405C-B222-CEA737D995B5}"/>
    <dgm:cxn modelId="{1F367AF1-5833-4005-B5BA-19C1357A3DEF}" type="presOf" srcId="{3EEFE082-C4FA-499A-BA01-E4B8217A4B73}" destId="{A3BC68A0-CABF-4126-884C-C90818E1E26E}" srcOrd="0" destOrd="0" presId="urn:microsoft.com/office/officeart/2005/8/layout/orgChart1"/>
    <dgm:cxn modelId="{CCB5AE26-70F4-4C5B-B53D-136E39A12AC5}" srcId="{843E3B21-DC9F-4CF8-A7F1-93BF704E47A7}" destId="{A240A1E1-162D-4A6E-A806-B6FF45B3AB68}" srcOrd="0" destOrd="0" parTransId="{F0BD47AB-7AC9-40A2-A96D-1A911EFDE7FF}" sibTransId="{A12D77FB-8453-4F78-A007-65AD68966259}"/>
    <dgm:cxn modelId="{79AB22B1-09A0-4849-BDED-B8FDD6CD2CB4}" type="presOf" srcId="{43BDC9E6-B3ED-4E11-B81F-A36F96CA06AD}" destId="{1AD90FEA-3135-49C2-A3C0-CFEDDC6405B3}" srcOrd="0" destOrd="0" presId="urn:microsoft.com/office/officeart/2005/8/layout/orgChart1"/>
    <dgm:cxn modelId="{3AE45D05-FF04-4313-A392-D71504CDB294}" srcId="{C35FC96E-9015-4790-BDC3-6E0D4D502FCB}" destId="{563BDB53-F022-44D5-A994-7DED9242388F}" srcOrd="0" destOrd="0" parTransId="{3D99B9D3-036F-4B86-B0E2-A658DBBECB0D}" sibTransId="{53A9DF38-5152-4CC3-B7FF-92A98B26A487}"/>
    <dgm:cxn modelId="{862CEF2B-BF2F-4849-81F9-B80ADC921F6E}" type="presOf" srcId="{FFEF3706-CF93-4454-94B8-9B70F84566E7}" destId="{4386C66D-20E4-49EB-959B-5421CC1E3F82}" srcOrd="1" destOrd="0" presId="urn:microsoft.com/office/officeart/2005/8/layout/orgChart1"/>
    <dgm:cxn modelId="{854842FC-BA2C-4967-8CDB-4794309D9DDE}" type="presOf" srcId="{563BDB53-F022-44D5-A994-7DED9242388F}" destId="{5824EBDA-4B5C-4410-BDF7-EDBCCC6DE89B}" srcOrd="1" destOrd="0" presId="urn:microsoft.com/office/officeart/2005/8/layout/orgChart1"/>
    <dgm:cxn modelId="{E5C8003C-88FF-46A6-B986-E65438A50651}" type="presOf" srcId="{A240A1E1-162D-4A6E-A806-B6FF45B3AB68}" destId="{6E033C69-6BA8-4812-AE4E-0022A986E944}" srcOrd="0" destOrd="0" presId="urn:microsoft.com/office/officeart/2005/8/layout/orgChart1"/>
    <dgm:cxn modelId="{8AFE5B02-1BD9-493E-817D-799F1B21F904}" type="presOf" srcId="{F6307309-103E-47AF-B4CF-3A814DB640F9}" destId="{23F80813-65D3-4BC5-96C1-9A5D5AEADB97}" srcOrd="1" destOrd="0" presId="urn:microsoft.com/office/officeart/2005/8/layout/orgChart1"/>
    <dgm:cxn modelId="{A7C523D0-E28D-43AF-B255-996DCA64BBA6}" type="presOf" srcId="{FFEF3706-CF93-4454-94B8-9B70F84566E7}" destId="{C8DE60D5-3BFA-4B18-89C8-1F812DCD88C1}" srcOrd="0" destOrd="0" presId="urn:microsoft.com/office/officeart/2005/8/layout/orgChart1"/>
    <dgm:cxn modelId="{0F03C27A-C997-469C-BEFB-973CACEA8F62}" type="presOf" srcId="{730934AA-743C-4E3A-B992-EDC75BC49F7E}" destId="{F396F561-0193-4DAC-94AB-FC3EEAD38895}" srcOrd="0" destOrd="0" presId="urn:microsoft.com/office/officeart/2005/8/layout/orgChart1"/>
    <dgm:cxn modelId="{2C74D999-0B6B-4943-BBDF-1F6B702CF100}" type="presOf" srcId="{697F9D67-01B5-429B-A07B-292B7521B5D3}" destId="{A56E760A-4B69-4701-AE07-CDC836D2FC5F}" srcOrd="0" destOrd="0" presId="urn:microsoft.com/office/officeart/2005/8/layout/orgChart1"/>
    <dgm:cxn modelId="{780D8221-0773-4B3E-8070-6224DA568308}" type="presOf" srcId="{C35FC96E-9015-4790-BDC3-6E0D4D502FCB}" destId="{B2267437-59D9-4F70-9854-AF295901641A}" srcOrd="1" destOrd="0" presId="urn:microsoft.com/office/officeart/2005/8/layout/orgChart1"/>
    <dgm:cxn modelId="{DD0B0603-DE3A-4EB7-9BD3-6BE1B7B6970C}" srcId="{C35FC96E-9015-4790-BDC3-6E0D4D502FCB}" destId="{830BFD2B-F1DC-48CD-8359-2EF69B3F4845}" srcOrd="2" destOrd="0" parTransId="{730934AA-743C-4E3A-B992-EDC75BC49F7E}" sibTransId="{CA352F9D-285E-447C-BD62-78B44998D479}"/>
    <dgm:cxn modelId="{39A61988-2BB5-4140-9BA9-BDFAB1875342}" type="presOf" srcId="{4E25AF54-5C18-4905-8913-7D1EA2AC6905}" destId="{2BC6CEE4-3F67-4FA6-8639-65EC4CCFF4D9}" srcOrd="0" destOrd="0" presId="urn:microsoft.com/office/officeart/2005/8/layout/orgChart1"/>
    <dgm:cxn modelId="{BB71F3B9-A97C-42B6-8DB1-34FBD0DA554A}" type="presOf" srcId="{3D99B9D3-036F-4B86-B0E2-A658DBBECB0D}" destId="{6D3A634C-FD35-4F86-A796-3DD5919F86EB}" srcOrd="0" destOrd="0" presId="urn:microsoft.com/office/officeart/2005/8/layout/orgChart1"/>
    <dgm:cxn modelId="{DBB477A4-5BCF-49EB-A8C3-7151A02C5D3F}" type="presOf" srcId="{C35FC96E-9015-4790-BDC3-6E0D4D502FCB}" destId="{67A44139-B3F0-4118-89E8-A44A0D503C36}" srcOrd="0" destOrd="0" presId="urn:microsoft.com/office/officeart/2005/8/layout/orgChart1"/>
    <dgm:cxn modelId="{79B7013D-4A05-4D96-B9A5-E5C8F65DFAC1}" type="presOf" srcId="{843E3B21-DC9F-4CF8-A7F1-93BF704E47A7}" destId="{5E5C4910-D5C2-4117-9825-0F4E2308A1D4}" srcOrd="0" destOrd="0" presId="urn:microsoft.com/office/officeart/2005/8/layout/orgChart1"/>
    <dgm:cxn modelId="{DE572E8B-7D06-4648-ADBE-3B5D4BAB64F8}" type="presOf" srcId="{830BFD2B-F1DC-48CD-8359-2EF69B3F4845}" destId="{567C9F04-89A6-446A-9930-6A15977E58BC}" srcOrd="0" destOrd="0" presId="urn:microsoft.com/office/officeart/2005/8/layout/orgChart1"/>
    <dgm:cxn modelId="{6FD2CBE2-FAA5-46C4-BB69-296201DB665C}" srcId="{AFCA2418-8D6B-4E9C-BE52-FC74C908050F}" destId="{F89FC749-F50C-4BBF-9E56-3E28891C9081}" srcOrd="0" destOrd="0" parTransId="{8D96278E-9F24-4F57-A0C7-D7EED281DE9D}" sibTransId="{7B2AAD9B-D195-4AB1-B773-7AC2F9013FD7}"/>
    <dgm:cxn modelId="{399DADB4-25BB-4F1A-8147-C21B2C7A5331}" type="presOf" srcId="{A240A1E1-162D-4A6E-A806-B6FF45B3AB68}" destId="{20C564F4-BF5C-4321-B86B-65391CEDEFC7}" srcOrd="1" destOrd="0" presId="urn:microsoft.com/office/officeart/2005/8/layout/orgChart1"/>
    <dgm:cxn modelId="{A938D16F-5428-4077-BFD9-789112665845}" type="presOf" srcId="{54165FB5-F7A3-4BBF-B199-2BE2BA410DE8}" destId="{B562ECC0-9994-4B01-9E77-D5C13C496118}" srcOrd="0" destOrd="0" presId="urn:microsoft.com/office/officeart/2005/8/layout/orgChart1"/>
    <dgm:cxn modelId="{A82A641D-A911-444F-98A8-E386825E7AFA}" type="presOf" srcId="{563BDB53-F022-44D5-A994-7DED9242388F}" destId="{4B399877-997D-4C5A-AE6B-CFCEE605BB65}" srcOrd="0" destOrd="0" presId="urn:microsoft.com/office/officeart/2005/8/layout/orgChart1"/>
    <dgm:cxn modelId="{FF6DF8D3-F426-4B10-AEC7-0F691A802EF6}" srcId="{563BDB53-F022-44D5-A994-7DED9242388F}" destId="{F6307309-103E-47AF-B4CF-3A814DB640F9}" srcOrd="0" destOrd="0" parTransId="{E6CCEFDB-E9CF-4440-A9C6-AD2740CBCCC3}" sibTransId="{DFA021AF-D60B-4DBB-8240-EA9C8C6CDB4E}"/>
    <dgm:cxn modelId="{482DB792-4616-4429-8146-834A4E403FCA}" srcId="{C35FC96E-9015-4790-BDC3-6E0D4D502FCB}" destId="{AFCA2418-8D6B-4E9C-BE52-FC74C908050F}" srcOrd="1" destOrd="0" parTransId="{4E25AF54-5C18-4905-8913-7D1EA2AC6905}" sibTransId="{2863A287-FD1D-46AB-958E-D6DB7D840902}"/>
    <dgm:cxn modelId="{9752320E-B0B1-46D5-99F7-11744FDCA5AB}" type="presOf" srcId="{A26E1133-27F8-42A1-91FE-23383B9ACC99}" destId="{E9F5810C-05C5-4937-8779-609DD6BD5CFD}" srcOrd="0" destOrd="0" presId="urn:microsoft.com/office/officeart/2005/8/layout/orgChart1"/>
    <dgm:cxn modelId="{C59B3E7A-BE73-4516-A59F-C35BE97E8337}" type="presOf" srcId="{E6CCEFDB-E9CF-4440-A9C6-AD2740CBCCC3}" destId="{0B841EBD-1CB9-4926-9414-31830C10A48C}" srcOrd="0" destOrd="0" presId="urn:microsoft.com/office/officeart/2005/8/layout/orgChart1"/>
    <dgm:cxn modelId="{46A8EFB6-92C1-49D3-9C44-EC9A62E2689D}" type="presOf" srcId="{43BDC9E6-B3ED-4E11-B81F-A36F96CA06AD}" destId="{6EF86BC6-06CE-4768-9942-F4420543D5EE}" srcOrd="1" destOrd="0" presId="urn:microsoft.com/office/officeart/2005/8/layout/orgChart1"/>
    <dgm:cxn modelId="{3F779810-B7CC-42D9-8872-4D45FB1E037F}" type="presOf" srcId="{AFCA2418-8D6B-4E9C-BE52-FC74C908050F}" destId="{C553D0C6-AEE4-4F65-8DAC-62449D94D6A7}" srcOrd="1" destOrd="0" presId="urn:microsoft.com/office/officeart/2005/8/layout/orgChart1"/>
    <dgm:cxn modelId="{61856070-9507-474B-BF61-4F3D22B0E586}" type="presParOf" srcId="{E9F5810C-05C5-4937-8779-609DD6BD5CFD}" destId="{25A00B3E-FEA8-439F-999E-8DB6BC95DBC0}" srcOrd="0" destOrd="0" presId="urn:microsoft.com/office/officeart/2005/8/layout/orgChart1"/>
    <dgm:cxn modelId="{C9AB7AC5-C8E6-48C7-8B94-3B9E6092F08C}" type="presParOf" srcId="{25A00B3E-FEA8-439F-999E-8DB6BC95DBC0}" destId="{305CB9B7-E4C6-453D-AC39-1DA3FA25C576}" srcOrd="0" destOrd="0" presId="urn:microsoft.com/office/officeart/2005/8/layout/orgChart1"/>
    <dgm:cxn modelId="{D3850956-5FAE-463C-A307-9CB1F216D248}" type="presParOf" srcId="{305CB9B7-E4C6-453D-AC39-1DA3FA25C576}" destId="{1AD90FEA-3135-49C2-A3C0-CFEDDC6405B3}" srcOrd="0" destOrd="0" presId="urn:microsoft.com/office/officeart/2005/8/layout/orgChart1"/>
    <dgm:cxn modelId="{7F9971B8-DBBA-4F9C-AA7B-A1C68E6B2CDB}" type="presParOf" srcId="{305CB9B7-E4C6-453D-AC39-1DA3FA25C576}" destId="{6EF86BC6-06CE-4768-9942-F4420543D5EE}" srcOrd="1" destOrd="0" presId="urn:microsoft.com/office/officeart/2005/8/layout/orgChart1"/>
    <dgm:cxn modelId="{F2FB2F83-29BF-4CFC-8B6C-97A273E86C9D}" type="presParOf" srcId="{25A00B3E-FEA8-439F-999E-8DB6BC95DBC0}" destId="{EC72B6B4-B63E-4FE2-8CC2-5FA221770366}" srcOrd="1" destOrd="0" presId="urn:microsoft.com/office/officeart/2005/8/layout/orgChart1"/>
    <dgm:cxn modelId="{C09D039B-B3D4-4DE4-9B11-4010ED0DC2DB}" type="presParOf" srcId="{EC72B6B4-B63E-4FE2-8CC2-5FA221770366}" destId="{A3BC68A0-CABF-4126-884C-C90818E1E26E}" srcOrd="0" destOrd="0" presId="urn:microsoft.com/office/officeart/2005/8/layout/orgChart1"/>
    <dgm:cxn modelId="{D8C6AEE1-7155-415B-91EC-4BB5EF9ADFF5}" type="presParOf" srcId="{EC72B6B4-B63E-4FE2-8CC2-5FA221770366}" destId="{9B84C5AA-6259-445A-8F7A-6D366FCBB4AD}" srcOrd="1" destOrd="0" presId="urn:microsoft.com/office/officeart/2005/8/layout/orgChart1"/>
    <dgm:cxn modelId="{3877EFAA-C426-4B89-B210-4EC4EFA975AF}" type="presParOf" srcId="{9B84C5AA-6259-445A-8F7A-6D366FCBB4AD}" destId="{F324FB99-E565-440D-9319-A2867DA87756}" srcOrd="0" destOrd="0" presId="urn:microsoft.com/office/officeart/2005/8/layout/orgChart1"/>
    <dgm:cxn modelId="{9880F1FA-FD5C-4A41-B90B-A880C24E58BE}" type="presParOf" srcId="{F324FB99-E565-440D-9319-A2867DA87756}" destId="{5E5C4910-D5C2-4117-9825-0F4E2308A1D4}" srcOrd="0" destOrd="0" presId="urn:microsoft.com/office/officeart/2005/8/layout/orgChart1"/>
    <dgm:cxn modelId="{BE1F5CD2-57AA-464C-B57B-4A026B762E88}" type="presParOf" srcId="{F324FB99-E565-440D-9319-A2867DA87756}" destId="{AB22B6A5-BFAD-4E5F-BED0-C002FA69FEEF}" srcOrd="1" destOrd="0" presId="urn:microsoft.com/office/officeart/2005/8/layout/orgChart1"/>
    <dgm:cxn modelId="{0048A427-1F24-4E10-9F44-3179CFD7653F}" type="presParOf" srcId="{9B84C5AA-6259-445A-8F7A-6D366FCBB4AD}" destId="{16186025-4BC6-46E2-97F6-F9084F02632D}" srcOrd="1" destOrd="0" presId="urn:microsoft.com/office/officeart/2005/8/layout/orgChart1"/>
    <dgm:cxn modelId="{596D7FBA-653E-4AE8-B46D-9D81B1DFAB07}" type="presParOf" srcId="{16186025-4BC6-46E2-97F6-F9084F02632D}" destId="{AEDC7120-FE6F-49D8-95F2-AB1B2B6AC9A8}" srcOrd="0" destOrd="0" presId="urn:microsoft.com/office/officeart/2005/8/layout/orgChart1"/>
    <dgm:cxn modelId="{1EBC744C-EA90-4E50-BD1B-9C5BA69958F3}" type="presParOf" srcId="{16186025-4BC6-46E2-97F6-F9084F02632D}" destId="{F65159AB-B6AE-4C58-BE85-DB4966F15FBA}" srcOrd="1" destOrd="0" presId="urn:microsoft.com/office/officeart/2005/8/layout/orgChart1"/>
    <dgm:cxn modelId="{83D98E19-BE7D-438B-9D92-41F06C1BCC5D}" type="presParOf" srcId="{F65159AB-B6AE-4C58-BE85-DB4966F15FBA}" destId="{4413A7CD-B07B-4481-95F7-63264BEB8326}" srcOrd="0" destOrd="0" presId="urn:microsoft.com/office/officeart/2005/8/layout/orgChart1"/>
    <dgm:cxn modelId="{D1349DF0-0BAC-4F39-9987-813DCDACD59F}" type="presParOf" srcId="{4413A7CD-B07B-4481-95F7-63264BEB8326}" destId="{6E033C69-6BA8-4812-AE4E-0022A986E944}" srcOrd="0" destOrd="0" presId="urn:microsoft.com/office/officeart/2005/8/layout/orgChart1"/>
    <dgm:cxn modelId="{8A9659D3-120D-47A9-915A-2029AFBB2D56}" type="presParOf" srcId="{4413A7CD-B07B-4481-95F7-63264BEB8326}" destId="{20C564F4-BF5C-4321-B86B-65391CEDEFC7}" srcOrd="1" destOrd="0" presId="urn:microsoft.com/office/officeart/2005/8/layout/orgChart1"/>
    <dgm:cxn modelId="{43E92CD7-064E-4F99-B3C2-E07D15A2796B}" type="presParOf" srcId="{F65159AB-B6AE-4C58-BE85-DB4966F15FBA}" destId="{7C0A51FE-5187-4FBA-A9F6-DFFAA1B3DD3E}" srcOrd="1" destOrd="0" presId="urn:microsoft.com/office/officeart/2005/8/layout/orgChart1"/>
    <dgm:cxn modelId="{A0894B0A-A8C3-4171-B0C2-2B712DF91306}" type="presParOf" srcId="{F65159AB-B6AE-4C58-BE85-DB4966F15FBA}" destId="{A5F1F6CB-B812-4FEA-ACD0-E838992C8274}" srcOrd="2" destOrd="0" presId="urn:microsoft.com/office/officeart/2005/8/layout/orgChart1"/>
    <dgm:cxn modelId="{009AE267-DEC8-49C7-B6B8-3CC092D0F4BC}" type="presParOf" srcId="{9B84C5AA-6259-445A-8F7A-6D366FCBB4AD}" destId="{82355405-192E-42E7-B905-7A6FE845C6D9}" srcOrd="2" destOrd="0" presId="urn:microsoft.com/office/officeart/2005/8/layout/orgChart1"/>
    <dgm:cxn modelId="{C2456AB2-4B0E-475A-8E4E-16B0E0E8D2FC}" type="presParOf" srcId="{EC72B6B4-B63E-4FE2-8CC2-5FA221770366}" destId="{B562ECC0-9994-4B01-9E77-D5C13C496118}" srcOrd="2" destOrd="0" presId="urn:microsoft.com/office/officeart/2005/8/layout/orgChart1"/>
    <dgm:cxn modelId="{62978BBB-3033-4B88-B721-9BBA2DC6F06B}" type="presParOf" srcId="{EC72B6B4-B63E-4FE2-8CC2-5FA221770366}" destId="{E18799E9-9DA7-423F-B7B3-369EFE76B3B6}" srcOrd="3" destOrd="0" presId="urn:microsoft.com/office/officeart/2005/8/layout/orgChart1"/>
    <dgm:cxn modelId="{331EDB57-638A-4FC4-BA66-42A6A531BA16}" type="presParOf" srcId="{E18799E9-9DA7-423F-B7B3-369EFE76B3B6}" destId="{354F8417-6C70-4131-8450-E52EDD2EFA17}" srcOrd="0" destOrd="0" presId="urn:microsoft.com/office/officeart/2005/8/layout/orgChart1"/>
    <dgm:cxn modelId="{C4DBB87F-B805-49CA-A312-F0935B358BCA}" type="presParOf" srcId="{354F8417-6C70-4131-8450-E52EDD2EFA17}" destId="{67A44139-B3F0-4118-89E8-A44A0D503C36}" srcOrd="0" destOrd="0" presId="urn:microsoft.com/office/officeart/2005/8/layout/orgChart1"/>
    <dgm:cxn modelId="{FC917B07-354F-4B1D-A4FA-704289117B57}" type="presParOf" srcId="{354F8417-6C70-4131-8450-E52EDD2EFA17}" destId="{B2267437-59D9-4F70-9854-AF295901641A}" srcOrd="1" destOrd="0" presId="urn:microsoft.com/office/officeart/2005/8/layout/orgChart1"/>
    <dgm:cxn modelId="{8265008A-514F-46C7-B59E-95BFA40EAE13}" type="presParOf" srcId="{E18799E9-9DA7-423F-B7B3-369EFE76B3B6}" destId="{A6AF8EE9-DBFC-447B-8940-E76A065FD97B}" srcOrd="1" destOrd="0" presId="urn:microsoft.com/office/officeart/2005/8/layout/orgChart1"/>
    <dgm:cxn modelId="{E2266E36-EA65-4EAC-8B8C-5AB5FDC3ED0C}" type="presParOf" srcId="{A6AF8EE9-DBFC-447B-8940-E76A065FD97B}" destId="{6D3A634C-FD35-4F86-A796-3DD5919F86EB}" srcOrd="0" destOrd="0" presId="urn:microsoft.com/office/officeart/2005/8/layout/orgChart1"/>
    <dgm:cxn modelId="{AE7C18A4-02F6-499B-A0C5-6C02251DAC7B}" type="presParOf" srcId="{A6AF8EE9-DBFC-447B-8940-E76A065FD97B}" destId="{4B03DC64-2348-4C35-8557-3DC745770699}" srcOrd="1" destOrd="0" presId="urn:microsoft.com/office/officeart/2005/8/layout/orgChart1"/>
    <dgm:cxn modelId="{E161BD4B-8478-422C-BBA2-DBCF64DB9EA2}" type="presParOf" srcId="{4B03DC64-2348-4C35-8557-3DC745770699}" destId="{EEB90F04-A0EB-4C04-B420-2EF090561DAF}" srcOrd="0" destOrd="0" presId="urn:microsoft.com/office/officeart/2005/8/layout/orgChart1"/>
    <dgm:cxn modelId="{20B4D835-3B3C-42D0-938D-6C1EA5D6C4C4}" type="presParOf" srcId="{EEB90F04-A0EB-4C04-B420-2EF090561DAF}" destId="{4B399877-997D-4C5A-AE6B-CFCEE605BB65}" srcOrd="0" destOrd="0" presId="urn:microsoft.com/office/officeart/2005/8/layout/orgChart1"/>
    <dgm:cxn modelId="{792E85DB-A773-4248-BBF0-6C294CE9FDC0}" type="presParOf" srcId="{EEB90F04-A0EB-4C04-B420-2EF090561DAF}" destId="{5824EBDA-4B5C-4410-BDF7-EDBCCC6DE89B}" srcOrd="1" destOrd="0" presId="urn:microsoft.com/office/officeart/2005/8/layout/orgChart1"/>
    <dgm:cxn modelId="{681BE119-8518-4C42-9E12-D4AA661E275E}" type="presParOf" srcId="{4B03DC64-2348-4C35-8557-3DC745770699}" destId="{A0FE2A0F-F998-49FE-8C93-B3A94C194044}" srcOrd="1" destOrd="0" presId="urn:microsoft.com/office/officeart/2005/8/layout/orgChart1"/>
    <dgm:cxn modelId="{67FEC06A-C0B8-4021-8DF7-E347AEC626B9}" type="presParOf" srcId="{A0FE2A0F-F998-49FE-8C93-B3A94C194044}" destId="{0B841EBD-1CB9-4926-9414-31830C10A48C}" srcOrd="0" destOrd="0" presId="urn:microsoft.com/office/officeart/2005/8/layout/orgChart1"/>
    <dgm:cxn modelId="{E5188719-F3E3-4DF5-8524-1242E8D98A2E}" type="presParOf" srcId="{A0FE2A0F-F998-49FE-8C93-B3A94C194044}" destId="{CEF4526B-2E15-4BA7-B296-37BEFAE00285}" srcOrd="1" destOrd="0" presId="urn:microsoft.com/office/officeart/2005/8/layout/orgChart1"/>
    <dgm:cxn modelId="{F47BA407-AC55-4417-B722-FB7DFB4BC074}" type="presParOf" srcId="{CEF4526B-2E15-4BA7-B296-37BEFAE00285}" destId="{010D02BF-3B09-49FE-872F-0974596CF5F9}" srcOrd="0" destOrd="0" presId="urn:microsoft.com/office/officeart/2005/8/layout/orgChart1"/>
    <dgm:cxn modelId="{A1723C85-7406-4DED-9ADC-400D8237B0CB}" type="presParOf" srcId="{010D02BF-3B09-49FE-872F-0974596CF5F9}" destId="{5A06C29A-3126-48BF-B144-189375FD0329}" srcOrd="0" destOrd="0" presId="urn:microsoft.com/office/officeart/2005/8/layout/orgChart1"/>
    <dgm:cxn modelId="{9B5467A0-2AC8-4F0F-862E-6F387E6F4344}" type="presParOf" srcId="{010D02BF-3B09-49FE-872F-0974596CF5F9}" destId="{23F80813-65D3-4BC5-96C1-9A5D5AEADB97}" srcOrd="1" destOrd="0" presId="urn:microsoft.com/office/officeart/2005/8/layout/orgChart1"/>
    <dgm:cxn modelId="{77B9E652-4FE7-4C3F-A01B-ACC544D1FC26}" type="presParOf" srcId="{CEF4526B-2E15-4BA7-B296-37BEFAE00285}" destId="{B26E3E9A-5407-4F8C-AA62-043DE696085D}" srcOrd="1" destOrd="0" presId="urn:microsoft.com/office/officeart/2005/8/layout/orgChart1"/>
    <dgm:cxn modelId="{D0E88A9C-6F98-4D01-BE65-490AEACA4B24}" type="presParOf" srcId="{CEF4526B-2E15-4BA7-B296-37BEFAE00285}" destId="{727E4B89-A828-454D-AE78-DEDE4A0C1473}" srcOrd="2" destOrd="0" presId="urn:microsoft.com/office/officeart/2005/8/layout/orgChart1"/>
    <dgm:cxn modelId="{B281D6F0-63DB-49FE-9219-2A89099F3D74}" type="presParOf" srcId="{4B03DC64-2348-4C35-8557-3DC745770699}" destId="{423AF3AB-9A6B-4A1D-8AF9-C44D00B522E0}" srcOrd="2" destOrd="0" presId="urn:microsoft.com/office/officeart/2005/8/layout/orgChart1"/>
    <dgm:cxn modelId="{AE9EEFAB-7172-4CF3-A20B-7C7F08021E1C}" type="presParOf" srcId="{A6AF8EE9-DBFC-447B-8940-E76A065FD97B}" destId="{2BC6CEE4-3F67-4FA6-8639-65EC4CCFF4D9}" srcOrd="2" destOrd="0" presId="urn:microsoft.com/office/officeart/2005/8/layout/orgChart1"/>
    <dgm:cxn modelId="{70278D3A-4CA2-4F0C-B6CA-29D8576DA90B}" type="presParOf" srcId="{A6AF8EE9-DBFC-447B-8940-E76A065FD97B}" destId="{56EAD692-CF12-4F08-9E91-48B2A708FB71}" srcOrd="3" destOrd="0" presId="urn:microsoft.com/office/officeart/2005/8/layout/orgChart1"/>
    <dgm:cxn modelId="{0DCD9891-3920-47F2-A015-08593F60DDFA}" type="presParOf" srcId="{56EAD692-CF12-4F08-9E91-48B2A708FB71}" destId="{17485795-B1F1-44AB-A6F9-533EF86E010F}" srcOrd="0" destOrd="0" presId="urn:microsoft.com/office/officeart/2005/8/layout/orgChart1"/>
    <dgm:cxn modelId="{237D2857-16BF-4160-93F2-BE28C2516A57}" type="presParOf" srcId="{17485795-B1F1-44AB-A6F9-533EF86E010F}" destId="{1B4F947A-69EB-46FF-A1EA-7664283D213E}" srcOrd="0" destOrd="0" presId="urn:microsoft.com/office/officeart/2005/8/layout/orgChart1"/>
    <dgm:cxn modelId="{F1F53ADF-77AB-4281-8202-91745AB4F38E}" type="presParOf" srcId="{17485795-B1F1-44AB-A6F9-533EF86E010F}" destId="{C553D0C6-AEE4-4F65-8DAC-62449D94D6A7}" srcOrd="1" destOrd="0" presId="urn:microsoft.com/office/officeart/2005/8/layout/orgChart1"/>
    <dgm:cxn modelId="{5FC53154-724F-4853-95C8-3D751343151D}" type="presParOf" srcId="{56EAD692-CF12-4F08-9E91-48B2A708FB71}" destId="{704B6FE3-1A93-464C-BD7D-26786EA03069}" srcOrd="1" destOrd="0" presId="urn:microsoft.com/office/officeart/2005/8/layout/orgChart1"/>
    <dgm:cxn modelId="{9E1C2454-42BD-490C-AEF5-5A2207D17A87}" type="presParOf" srcId="{704B6FE3-1A93-464C-BD7D-26786EA03069}" destId="{7F79E16A-DCA2-4B41-B9FB-041F5F8C0836}" srcOrd="0" destOrd="0" presId="urn:microsoft.com/office/officeart/2005/8/layout/orgChart1"/>
    <dgm:cxn modelId="{2C06C74A-FC7B-4DFD-B20B-A7C2CA01F690}" type="presParOf" srcId="{704B6FE3-1A93-464C-BD7D-26786EA03069}" destId="{7AB126A4-7DFD-4B1F-AAA9-8F64B31288B9}" srcOrd="1" destOrd="0" presId="urn:microsoft.com/office/officeart/2005/8/layout/orgChart1"/>
    <dgm:cxn modelId="{E8A7EC97-1BAA-4A18-ACAF-BEC6C3ACE511}" type="presParOf" srcId="{7AB126A4-7DFD-4B1F-AAA9-8F64B31288B9}" destId="{DA546668-493A-41C6-997B-5D5FCC12835E}" srcOrd="0" destOrd="0" presId="urn:microsoft.com/office/officeart/2005/8/layout/orgChart1"/>
    <dgm:cxn modelId="{51E04210-C25F-4052-A778-C5655783E2DE}" type="presParOf" srcId="{DA546668-493A-41C6-997B-5D5FCC12835E}" destId="{024F55D6-668B-49E1-A8E7-A40E7D340D0A}" srcOrd="0" destOrd="0" presId="urn:microsoft.com/office/officeart/2005/8/layout/orgChart1"/>
    <dgm:cxn modelId="{55CA0671-E3E0-4E94-ABD5-2CD97A644219}" type="presParOf" srcId="{DA546668-493A-41C6-997B-5D5FCC12835E}" destId="{8D31A8FA-55C8-4B2E-BA13-7C6E21696CC9}" srcOrd="1" destOrd="0" presId="urn:microsoft.com/office/officeart/2005/8/layout/orgChart1"/>
    <dgm:cxn modelId="{67EF613A-B52E-48F0-A993-868609F93BF0}" type="presParOf" srcId="{7AB126A4-7DFD-4B1F-AAA9-8F64B31288B9}" destId="{A0765EF4-6FED-4F03-A673-4F03D12039A5}" srcOrd="1" destOrd="0" presId="urn:microsoft.com/office/officeart/2005/8/layout/orgChart1"/>
    <dgm:cxn modelId="{0F67D273-C2E4-4FCF-9A50-37BFBAC20F8F}" type="presParOf" srcId="{7AB126A4-7DFD-4B1F-AAA9-8F64B31288B9}" destId="{479FBDC3-5285-4024-B098-337ED3F183B2}" srcOrd="2" destOrd="0" presId="urn:microsoft.com/office/officeart/2005/8/layout/orgChart1"/>
    <dgm:cxn modelId="{31B0DAB4-C260-4A3C-8653-9750566916E9}" type="presParOf" srcId="{56EAD692-CF12-4F08-9E91-48B2A708FB71}" destId="{DA9CB0A7-0D84-4FCC-8CAA-C663566F179D}" srcOrd="2" destOrd="0" presId="urn:microsoft.com/office/officeart/2005/8/layout/orgChart1"/>
    <dgm:cxn modelId="{F42B032D-8733-43BD-B177-B03C6E634E31}" type="presParOf" srcId="{A6AF8EE9-DBFC-447B-8940-E76A065FD97B}" destId="{F396F561-0193-4DAC-94AB-FC3EEAD38895}" srcOrd="4" destOrd="0" presId="urn:microsoft.com/office/officeart/2005/8/layout/orgChart1"/>
    <dgm:cxn modelId="{49674F64-B798-4F1D-852D-D71E5D53D0FE}" type="presParOf" srcId="{A6AF8EE9-DBFC-447B-8940-E76A065FD97B}" destId="{576BA9E2-9384-4C0F-A8DE-0AB334418AF7}" srcOrd="5" destOrd="0" presId="urn:microsoft.com/office/officeart/2005/8/layout/orgChart1"/>
    <dgm:cxn modelId="{D2D928A8-11FB-47BD-BB0D-DF8944C301C5}" type="presParOf" srcId="{576BA9E2-9384-4C0F-A8DE-0AB334418AF7}" destId="{6FAAD041-B297-4EFA-9523-2E8BFFA4D2D7}" srcOrd="0" destOrd="0" presId="urn:microsoft.com/office/officeart/2005/8/layout/orgChart1"/>
    <dgm:cxn modelId="{FA3CE1ED-E1C0-4DAB-90C6-14E633208DD8}" type="presParOf" srcId="{6FAAD041-B297-4EFA-9523-2E8BFFA4D2D7}" destId="{567C9F04-89A6-446A-9930-6A15977E58BC}" srcOrd="0" destOrd="0" presId="urn:microsoft.com/office/officeart/2005/8/layout/orgChart1"/>
    <dgm:cxn modelId="{B868375F-6C63-4EC6-ADBE-31D976B0A55E}" type="presParOf" srcId="{6FAAD041-B297-4EFA-9523-2E8BFFA4D2D7}" destId="{E3F832A4-0FD8-482A-82E7-9C0BC4E29954}" srcOrd="1" destOrd="0" presId="urn:microsoft.com/office/officeart/2005/8/layout/orgChart1"/>
    <dgm:cxn modelId="{31152B20-6BBA-48AB-8BFE-D99681BB077F}" type="presParOf" srcId="{576BA9E2-9384-4C0F-A8DE-0AB334418AF7}" destId="{0AFCAC7A-4881-4B5E-B26A-7386E044366F}" srcOrd="1" destOrd="0" presId="urn:microsoft.com/office/officeart/2005/8/layout/orgChart1"/>
    <dgm:cxn modelId="{97160536-B3FA-4AEB-9A04-C22A03C76BF2}" type="presParOf" srcId="{0AFCAC7A-4881-4B5E-B26A-7386E044366F}" destId="{A56E760A-4B69-4701-AE07-CDC836D2FC5F}" srcOrd="0" destOrd="0" presId="urn:microsoft.com/office/officeart/2005/8/layout/orgChart1"/>
    <dgm:cxn modelId="{EBED2F05-6E93-421D-B107-ABE6612F8E72}" type="presParOf" srcId="{0AFCAC7A-4881-4B5E-B26A-7386E044366F}" destId="{DFC4DA75-EEA4-4418-A59F-52FFC71FA29F}" srcOrd="1" destOrd="0" presId="urn:microsoft.com/office/officeart/2005/8/layout/orgChart1"/>
    <dgm:cxn modelId="{94AE9C78-D058-4606-83C6-1ED7F7CF164A}" type="presParOf" srcId="{DFC4DA75-EEA4-4418-A59F-52FFC71FA29F}" destId="{95087660-D0E6-475E-8E1B-E152A02BFB42}" srcOrd="0" destOrd="0" presId="urn:microsoft.com/office/officeart/2005/8/layout/orgChart1"/>
    <dgm:cxn modelId="{A20DEB5D-4655-4078-B60B-9192B573849B}" type="presParOf" srcId="{95087660-D0E6-475E-8E1B-E152A02BFB42}" destId="{C8DE60D5-3BFA-4B18-89C8-1F812DCD88C1}" srcOrd="0" destOrd="0" presId="urn:microsoft.com/office/officeart/2005/8/layout/orgChart1"/>
    <dgm:cxn modelId="{C99CAF0C-C734-4565-802A-DBC02E093479}" type="presParOf" srcId="{95087660-D0E6-475E-8E1B-E152A02BFB42}" destId="{4386C66D-20E4-49EB-959B-5421CC1E3F82}" srcOrd="1" destOrd="0" presId="urn:microsoft.com/office/officeart/2005/8/layout/orgChart1"/>
    <dgm:cxn modelId="{FB0AB5B5-21FD-4F97-983D-7D0FCA659B73}" type="presParOf" srcId="{DFC4DA75-EEA4-4418-A59F-52FFC71FA29F}" destId="{BA3FC4F3-FEC8-4F42-82C5-08FE87E50440}" srcOrd="1" destOrd="0" presId="urn:microsoft.com/office/officeart/2005/8/layout/orgChart1"/>
    <dgm:cxn modelId="{2F2A0C44-E796-4BC1-AF68-0C13BB032A19}" type="presParOf" srcId="{DFC4DA75-EEA4-4418-A59F-52FFC71FA29F}" destId="{64677F8C-55CB-4D78-B640-403683A14DE4}" srcOrd="2" destOrd="0" presId="urn:microsoft.com/office/officeart/2005/8/layout/orgChart1"/>
    <dgm:cxn modelId="{D5530865-5205-4365-A57D-67820C59C614}" type="presParOf" srcId="{576BA9E2-9384-4C0F-A8DE-0AB334418AF7}" destId="{4CEE377B-F75A-4927-843A-862BDB1E60D3}" srcOrd="2" destOrd="0" presId="urn:microsoft.com/office/officeart/2005/8/layout/orgChart1"/>
    <dgm:cxn modelId="{70AB6862-4C41-40DE-A00C-60DD81AB0A08}" type="presParOf" srcId="{E18799E9-9DA7-423F-B7B3-369EFE76B3B6}" destId="{430C728D-004C-49FD-A0C1-71CD6E772786}" srcOrd="2" destOrd="0" presId="urn:microsoft.com/office/officeart/2005/8/layout/orgChart1"/>
    <dgm:cxn modelId="{A23C898A-DCEB-4AF0-9AFB-511E475CB953}" type="presParOf" srcId="{25A00B3E-FEA8-439F-999E-8DB6BC95DBC0}" destId="{B87F60ED-85BE-4872-BA6E-CDCB9CBDC6A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26E1133-27F8-42A1-91FE-23383B9ACC99}" type="doc">
      <dgm:prSet loTypeId="urn:microsoft.com/office/officeart/2005/8/layout/orgChart1" loCatId="hierarchy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3BDC9E6-B3ED-4E11-B81F-A36F96CA06AD}">
      <dgm:prSet custT="1"/>
      <dgm:spPr/>
      <dgm:t>
        <a:bodyPr/>
        <a:lstStyle/>
        <a:p>
          <a:pPr rtl="0"/>
          <a:r>
            <a:rPr lang="en-US" sz="2000" dirty="0" smtClean="0"/>
            <a:t>Availability</a:t>
          </a:r>
          <a:endParaRPr lang="en-US" sz="2000" dirty="0"/>
        </a:p>
      </dgm:t>
    </dgm:pt>
    <dgm:pt modelId="{818B4425-229C-4D05-BD73-F2583AB7B9C5}" type="parTrans" cxnId="{E040E2E2-F016-4F82-9927-EA3D62DA0F57}">
      <dgm:prSet/>
      <dgm:spPr/>
      <dgm:t>
        <a:bodyPr/>
        <a:lstStyle/>
        <a:p>
          <a:endParaRPr lang="en-US" sz="2000"/>
        </a:p>
      </dgm:t>
    </dgm:pt>
    <dgm:pt modelId="{A3D2AA9D-1D2C-45CA-9A99-0FD9E343747F}" type="sibTrans" cxnId="{E040E2E2-F016-4F82-9927-EA3D62DA0F57}">
      <dgm:prSet/>
      <dgm:spPr/>
      <dgm:t>
        <a:bodyPr/>
        <a:lstStyle/>
        <a:p>
          <a:endParaRPr lang="en-US" sz="2000"/>
        </a:p>
      </dgm:t>
    </dgm:pt>
    <dgm:pt modelId="{843E3B21-DC9F-4CF8-A7F1-93BF704E47A7}">
      <dgm:prSet custT="1"/>
      <dgm:spPr/>
      <dgm:t>
        <a:bodyPr/>
        <a:lstStyle/>
        <a:p>
          <a:pPr rtl="0"/>
          <a:r>
            <a:rPr lang="en-US" sz="1800" dirty="0" smtClean="0"/>
            <a:t>Fault detection</a:t>
          </a:r>
          <a:endParaRPr lang="en-US" sz="1800" dirty="0"/>
        </a:p>
      </dgm:t>
    </dgm:pt>
    <dgm:pt modelId="{3EEFE082-C4FA-499A-BA01-E4B8217A4B73}" type="parTrans" cxnId="{3C110BFF-FD87-473E-9985-0D9D761E60BD}">
      <dgm:prSet/>
      <dgm:spPr/>
      <dgm:t>
        <a:bodyPr/>
        <a:lstStyle/>
        <a:p>
          <a:endParaRPr lang="en-US" sz="2000"/>
        </a:p>
      </dgm:t>
    </dgm:pt>
    <dgm:pt modelId="{2992CB8F-FBF4-486F-BE86-7AEC96D28238}" type="sibTrans" cxnId="{3C110BFF-FD87-473E-9985-0D9D761E60BD}">
      <dgm:prSet/>
      <dgm:spPr/>
      <dgm:t>
        <a:bodyPr/>
        <a:lstStyle/>
        <a:p>
          <a:endParaRPr lang="en-US" sz="2000"/>
        </a:p>
      </dgm:t>
    </dgm:pt>
    <dgm:pt modelId="{A240A1E1-162D-4A6E-A806-B6FF45B3AB68}">
      <dgm:prSet custT="1"/>
      <dgm:spPr/>
      <dgm:t>
        <a:bodyPr/>
        <a:lstStyle/>
        <a:p>
          <a:pPr rtl="0"/>
          <a:r>
            <a:rPr lang="en-US" sz="1600" dirty="0" smtClean="0"/>
            <a:t>Shadow operation</a:t>
          </a:r>
          <a:endParaRPr lang="en-US" sz="1600" dirty="0"/>
        </a:p>
      </dgm:t>
    </dgm:pt>
    <dgm:pt modelId="{F0BD47AB-7AC9-40A2-A96D-1A911EFDE7FF}" type="parTrans" cxnId="{CCB5AE26-70F4-4C5B-B53D-136E39A12AC5}">
      <dgm:prSet/>
      <dgm:spPr/>
      <dgm:t>
        <a:bodyPr/>
        <a:lstStyle/>
        <a:p>
          <a:endParaRPr lang="en-US" sz="2000"/>
        </a:p>
      </dgm:t>
    </dgm:pt>
    <dgm:pt modelId="{A12D77FB-8453-4F78-A007-65AD68966259}" type="sibTrans" cxnId="{CCB5AE26-70F4-4C5B-B53D-136E39A12AC5}">
      <dgm:prSet/>
      <dgm:spPr/>
      <dgm:t>
        <a:bodyPr/>
        <a:lstStyle/>
        <a:p>
          <a:endParaRPr lang="en-US" sz="2000"/>
        </a:p>
      </dgm:t>
    </dgm:pt>
    <dgm:pt modelId="{C35FC96E-9015-4790-BDC3-6E0D4D502FCB}">
      <dgm:prSet custT="1"/>
      <dgm:spPr/>
      <dgm:t>
        <a:bodyPr/>
        <a:lstStyle/>
        <a:p>
          <a:pPr rtl="0"/>
          <a:r>
            <a:rPr lang="en-US" sz="1800" dirty="0" smtClean="0"/>
            <a:t>Failure prevention</a:t>
          </a:r>
          <a:endParaRPr lang="en-US" sz="1800" dirty="0"/>
        </a:p>
      </dgm:t>
    </dgm:pt>
    <dgm:pt modelId="{54165FB5-F7A3-4BBF-B199-2BE2BA410DE8}" type="parTrans" cxnId="{C159F786-ED38-476E-9CAF-598C4BA6A40C}">
      <dgm:prSet/>
      <dgm:spPr/>
      <dgm:t>
        <a:bodyPr/>
        <a:lstStyle/>
        <a:p>
          <a:endParaRPr lang="en-US" sz="2000"/>
        </a:p>
      </dgm:t>
    </dgm:pt>
    <dgm:pt modelId="{599E3296-C316-405C-B222-CEA737D995B5}" type="sibTrans" cxnId="{C159F786-ED38-476E-9CAF-598C4BA6A40C}">
      <dgm:prSet/>
      <dgm:spPr/>
      <dgm:t>
        <a:bodyPr/>
        <a:lstStyle/>
        <a:p>
          <a:endParaRPr lang="en-US" sz="2000"/>
        </a:p>
      </dgm:t>
    </dgm:pt>
    <dgm:pt modelId="{AFCA2418-8D6B-4E9C-BE52-FC74C908050F}">
      <dgm:prSet custT="1"/>
      <dgm:spPr/>
      <dgm:t>
        <a:bodyPr/>
        <a:lstStyle/>
        <a:p>
          <a:pPr rtl="0"/>
          <a:r>
            <a:rPr lang="en-US" sz="1600" b="0" u="none" dirty="0" smtClean="0"/>
            <a:t>Removal of a component to prevent anticipated failure– auto/manual reboot</a:t>
          </a:r>
          <a:endParaRPr lang="en-US" sz="1600" b="0" u="none" dirty="0"/>
        </a:p>
      </dgm:t>
    </dgm:pt>
    <dgm:pt modelId="{4E25AF54-5C18-4905-8913-7D1EA2AC6905}" type="parTrans" cxnId="{482DB792-4616-4429-8146-834A4E403FCA}">
      <dgm:prSet/>
      <dgm:spPr/>
      <dgm:t>
        <a:bodyPr/>
        <a:lstStyle/>
        <a:p>
          <a:endParaRPr lang="en-US" sz="2000"/>
        </a:p>
      </dgm:t>
    </dgm:pt>
    <dgm:pt modelId="{2863A287-FD1D-46AB-958E-D6DB7D840902}" type="sibTrans" cxnId="{482DB792-4616-4429-8146-834A4E403FCA}">
      <dgm:prSet/>
      <dgm:spPr/>
      <dgm:t>
        <a:bodyPr/>
        <a:lstStyle/>
        <a:p>
          <a:endParaRPr lang="en-US" sz="2000"/>
        </a:p>
      </dgm:t>
    </dgm:pt>
    <dgm:pt modelId="{E420C67E-C4C2-476B-9B47-FFB47D587009}">
      <dgm:prSet custT="1"/>
      <dgm:spPr/>
      <dgm:t>
        <a:bodyPr/>
        <a:lstStyle/>
        <a:p>
          <a:pPr rtl="0"/>
          <a:r>
            <a:rPr lang="en-US" sz="1800" dirty="0" smtClean="0"/>
            <a:t>Recovery by repair</a:t>
          </a:r>
          <a:endParaRPr lang="en-US" sz="1800" dirty="0"/>
        </a:p>
      </dgm:t>
    </dgm:pt>
    <dgm:pt modelId="{65D088B7-B36E-49AA-84B9-2BC51B326EA1}" type="parTrans" cxnId="{2AC6A1A2-FDAF-4C07-BF93-78DC05214544}">
      <dgm:prSet/>
      <dgm:spPr/>
      <dgm:t>
        <a:bodyPr/>
        <a:lstStyle/>
        <a:p>
          <a:endParaRPr lang="en-US"/>
        </a:p>
      </dgm:t>
    </dgm:pt>
    <dgm:pt modelId="{7CC715FB-928E-4CFE-A8F5-045F16B2D743}" type="sibTrans" cxnId="{2AC6A1A2-FDAF-4C07-BF93-78DC05214544}">
      <dgm:prSet/>
      <dgm:spPr/>
      <dgm:t>
        <a:bodyPr/>
        <a:lstStyle/>
        <a:p>
          <a:endParaRPr lang="en-US"/>
        </a:p>
      </dgm:t>
    </dgm:pt>
    <dgm:pt modelId="{1CE2D78B-C788-472A-8424-7F9A4AB5205E}">
      <dgm:prSet custT="1"/>
      <dgm:spPr/>
      <dgm:t>
        <a:bodyPr/>
        <a:lstStyle/>
        <a:p>
          <a:pPr rtl="0"/>
          <a:r>
            <a:rPr lang="en-US" sz="1800" dirty="0" smtClean="0"/>
            <a:t>Recovery by reintroduction</a:t>
          </a:r>
          <a:endParaRPr lang="en-US" sz="1800" dirty="0"/>
        </a:p>
      </dgm:t>
    </dgm:pt>
    <dgm:pt modelId="{6ED4E1AA-EFDD-4E70-836E-3DB36084DE98}" type="parTrans" cxnId="{0D252A7C-EA88-478B-9AB7-96B65AE1E68A}">
      <dgm:prSet/>
      <dgm:spPr/>
      <dgm:t>
        <a:bodyPr/>
        <a:lstStyle/>
        <a:p>
          <a:endParaRPr lang="en-US"/>
        </a:p>
      </dgm:t>
    </dgm:pt>
    <dgm:pt modelId="{1D0F051B-C9A8-457A-BE08-985EF4C28172}" type="sibTrans" cxnId="{0D252A7C-EA88-478B-9AB7-96B65AE1E68A}">
      <dgm:prSet/>
      <dgm:spPr/>
      <dgm:t>
        <a:bodyPr/>
        <a:lstStyle/>
        <a:p>
          <a:endParaRPr lang="en-US"/>
        </a:p>
      </dgm:t>
    </dgm:pt>
    <dgm:pt modelId="{C6E107C8-C87F-4E03-9C51-3B0FC309122B}">
      <dgm:prSet custT="1"/>
      <dgm:spPr/>
      <dgm:t>
        <a:bodyPr/>
        <a:lstStyle/>
        <a:p>
          <a:pPr rtl="0"/>
          <a:r>
            <a:rPr lang="en-US" sz="1600" dirty="0" smtClean="0"/>
            <a:t>Create transaction</a:t>
          </a:r>
          <a:endParaRPr lang="en-US" sz="1600" dirty="0"/>
        </a:p>
      </dgm:t>
    </dgm:pt>
    <dgm:pt modelId="{645C00E4-762B-4277-AD48-4328B4AF7430}" type="parTrans" cxnId="{AF611182-AAE8-4190-BE35-A2473E50306B}">
      <dgm:prSet/>
      <dgm:spPr/>
      <dgm:t>
        <a:bodyPr/>
        <a:lstStyle/>
        <a:p>
          <a:endParaRPr lang="en-US"/>
        </a:p>
      </dgm:t>
    </dgm:pt>
    <dgm:pt modelId="{E622C44F-BC5B-49E7-9D58-720E5F6040E1}" type="sibTrans" cxnId="{AF611182-AAE8-4190-BE35-A2473E50306B}">
      <dgm:prSet/>
      <dgm:spPr/>
      <dgm:t>
        <a:bodyPr/>
        <a:lstStyle/>
        <a:p>
          <a:endParaRPr lang="en-US"/>
        </a:p>
      </dgm:t>
    </dgm:pt>
    <dgm:pt modelId="{09967023-FD4B-4E34-A1C9-A393B75E32BA}">
      <dgm:prSet custT="1"/>
      <dgm:spPr/>
      <dgm:t>
        <a:bodyPr/>
        <a:lstStyle/>
        <a:p>
          <a:pPr rtl="0"/>
          <a:r>
            <a:rPr lang="en-US" sz="1600" dirty="0" smtClean="0"/>
            <a:t>Process monitor- that can detect, remove and restart faulty process</a:t>
          </a:r>
          <a:endParaRPr lang="en-US" sz="1600" dirty="0"/>
        </a:p>
      </dgm:t>
    </dgm:pt>
    <dgm:pt modelId="{28774598-E592-4921-B255-0225EB6D096E}" type="parTrans" cxnId="{DB925F6A-7761-4D5E-84C9-D63652FE2570}">
      <dgm:prSet/>
      <dgm:spPr/>
      <dgm:t>
        <a:bodyPr/>
        <a:lstStyle/>
        <a:p>
          <a:endParaRPr lang="en-US"/>
        </a:p>
      </dgm:t>
    </dgm:pt>
    <dgm:pt modelId="{0B7B4A03-7BEB-45DD-A62C-7505C5BC4A5B}" type="sibTrans" cxnId="{DB925F6A-7761-4D5E-84C9-D63652FE2570}">
      <dgm:prSet/>
      <dgm:spPr/>
      <dgm:t>
        <a:bodyPr/>
        <a:lstStyle/>
        <a:p>
          <a:endParaRPr lang="en-US"/>
        </a:p>
      </dgm:t>
    </dgm:pt>
    <dgm:pt modelId="{35016019-1F0E-47A9-A9CB-AE98C0AFCFC1}">
      <dgm:prSet custT="1"/>
      <dgm:spPr/>
      <dgm:t>
        <a:bodyPr/>
        <a:lstStyle/>
        <a:p>
          <a:pPr rtl="0"/>
          <a:r>
            <a:rPr lang="en-US" sz="1600" dirty="0" smtClean="0"/>
            <a:t>State resynchronization</a:t>
          </a:r>
          <a:endParaRPr lang="en-US" sz="1600" dirty="0"/>
        </a:p>
      </dgm:t>
    </dgm:pt>
    <dgm:pt modelId="{A60BCA66-49BB-4275-9110-8B471B3FC59B}" type="parTrans" cxnId="{F0C0AED6-3BFB-430A-84C4-C1842ECA49F1}">
      <dgm:prSet/>
      <dgm:spPr/>
      <dgm:t>
        <a:bodyPr/>
        <a:lstStyle/>
        <a:p>
          <a:endParaRPr lang="en-US"/>
        </a:p>
      </dgm:t>
    </dgm:pt>
    <dgm:pt modelId="{549EC933-326F-43C6-A4AD-B0C6604A5CF9}" type="sibTrans" cxnId="{F0C0AED6-3BFB-430A-84C4-C1842ECA49F1}">
      <dgm:prSet/>
      <dgm:spPr/>
      <dgm:t>
        <a:bodyPr/>
        <a:lstStyle/>
        <a:p>
          <a:endParaRPr lang="en-US"/>
        </a:p>
      </dgm:t>
    </dgm:pt>
    <dgm:pt modelId="{49742260-F14F-4BCB-8D88-ADD2EB5024EC}">
      <dgm:prSet custT="1"/>
      <dgm:spPr/>
      <dgm:t>
        <a:bodyPr/>
        <a:lstStyle/>
        <a:p>
          <a:pPr rtl="0"/>
          <a:r>
            <a:rPr lang="en-US" sz="1600" dirty="0" err="1" smtClean="0"/>
            <a:t>Checkpointing</a:t>
          </a:r>
          <a:r>
            <a:rPr lang="en-US" sz="1600" dirty="0" smtClean="0"/>
            <a:t> and rollback</a:t>
          </a:r>
          <a:endParaRPr lang="en-US" sz="1600" dirty="0"/>
        </a:p>
      </dgm:t>
    </dgm:pt>
    <dgm:pt modelId="{9275B05E-F520-4192-9B33-84AEEBC3F62D}" type="parTrans" cxnId="{A0E66910-A417-4433-846A-E364FADC3533}">
      <dgm:prSet/>
      <dgm:spPr/>
      <dgm:t>
        <a:bodyPr/>
        <a:lstStyle/>
        <a:p>
          <a:endParaRPr lang="en-US"/>
        </a:p>
      </dgm:t>
    </dgm:pt>
    <dgm:pt modelId="{BDB94797-518D-4543-8D6F-13596FEC7A22}" type="sibTrans" cxnId="{A0E66910-A417-4433-846A-E364FADC3533}">
      <dgm:prSet/>
      <dgm:spPr/>
      <dgm:t>
        <a:bodyPr/>
        <a:lstStyle/>
        <a:p>
          <a:endParaRPr lang="en-US"/>
        </a:p>
      </dgm:t>
    </dgm:pt>
    <dgm:pt modelId="{0216D3CF-84E5-4443-8082-6C6C297E9A4D}">
      <dgm:prSet custT="1"/>
      <dgm:spPr/>
      <dgm:t>
        <a:bodyPr/>
        <a:lstStyle/>
        <a:p>
          <a:pPr rtl="0"/>
          <a:r>
            <a:rPr lang="en-US" sz="1800" dirty="0" smtClean="0"/>
            <a:t>Voting</a:t>
          </a:r>
          <a:endParaRPr lang="en-US" sz="1800" dirty="0"/>
        </a:p>
      </dgm:t>
    </dgm:pt>
    <dgm:pt modelId="{C3334397-F4C9-43FD-9DE7-786437A51BF8}" type="parTrans" cxnId="{EF17C288-FABF-470A-9F6E-6F1AC60C08BE}">
      <dgm:prSet/>
      <dgm:spPr/>
      <dgm:t>
        <a:bodyPr/>
        <a:lstStyle/>
        <a:p>
          <a:endParaRPr lang="en-US"/>
        </a:p>
      </dgm:t>
    </dgm:pt>
    <dgm:pt modelId="{9C27E3D0-AEBB-4C4C-AFEA-8F9AF608B21E}" type="sibTrans" cxnId="{EF17C288-FABF-470A-9F6E-6F1AC60C08BE}">
      <dgm:prSet/>
      <dgm:spPr/>
      <dgm:t>
        <a:bodyPr/>
        <a:lstStyle/>
        <a:p>
          <a:endParaRPr lang="en-US"/>
        </a:p>
      </dgm:t>
    </dgm:pt>
    <dgm:pt modelId="{90833815-F732-45AF-B735-7A208BE16A8A}">
      <dgm:prSet custT="1"/>
      <dgm:spPr/>
      <dgm:t>
        <a:bodyPr/>
        <a:lstStyle/>
        <a:p>
          <a:pPr rtl="0"/>
          <a:r>
            <a:rPr lang="en-US" sz="1800" dirty="0" smtClean="0"/>
            <a:t>Active redundancy</a:t>
          </a:r>
          <a:endParaRPr lang="en-US" sz="1800" dirty="0"/>
        </a:p>
      </dgm:t>
    </dgm:pt>
    <dgm:pt modelId="{62301F5E-BDD5-4369-B9CF-5999FECA1C85}" type="parTrans" cxnId="{A630084D-67F8-48A7-9951-F46F3604D1B4}">
      <dgm:prSet/>
      <dgm:spPr/>
      <dgm:t>
        <a:bodyPr/>
        <a:lstStyle/>
        <a:p>
          <a:endParaRPr lang="en-US"/>
        </a:p>
      </dgm:t>
    </dgm:pt>
    <dgm:pt modelId="{7A88FAF5-FAAB-4848-B347-2B42AF8023FF}" type="sibTrans" cxnId="{A630084D-67F8-48A7-9951-F46F3604D1B4}">
      <dgm:prSet/>
      <dgm:spPr/>
      <dgm:t>
        <a:bodyPr/>
        <a:lstStyle/>
        <a:p>
          <a:endParaRPr lang="en-US"/>
        </a:p>
      </dgm:t>
    </dgm:pt>
    <dgm:pt modelId="{2F6572D1-3E4E-41CC-B816-15F6AA753750}">
      <dgm:prSet custT="1"/>
      <dgm:spPr/>
      <dgm:t>
        <a:bodyPr/>
        <a:lstStyle/>
        <a:p>
          <a:pPr rtl="0"/>
          <a:r>
            <a:rPr lang="en-US" sz="1800" dirty="0" smtClean="0"/>
            <a:t>Passive redundancy</a:t>
          </a:r>
          <a:endParaRPr lang="en-US" sz="1800" dirty="0"/>
        </a:p>
      </dgm:t>
    </dgm:pt>
    <dgm:pt modelId="{453F9760-1876-428B-8CB6-DA8F60516D89}" type="parTrans" cxnId="{06E71150-3811-4FC5-8858-0203DD6C998E}">
      <dgm:prSet/>
      <dgm:spPr/>
      <dgm:t>
        <a:bodyPr/>
        <a:lstStyle/>
        <a:p>
          <a:endParaRPr lang="en-US"/>
        </a:p>
      </dgm:t>
    </dgm:pt>
    <dgm:pt modelId="{F36BC338-6ADD-4D27-8F50-A2943AF092AF}" type="sibTrans" cxnId="{06E71150-3811-4FC5-8858-0203DD6C998E}">
      <dgm:prSet/>
      <dgm:spPr/>
      <dgm:t>
        <a:bodyPr/>
        <a:lstStyle/>
        <a:p>
          <a:endParaRPr lang="en-US"/>
        </a:p>
      </dgm:t>
    </dgm:pt>
    <dgm:pt modelId="{CFEBB133-5D80-4E9D-815E-BA7E2B5804D2}">
      <dgm:prSet custT="1"/>
      <dgm:spPr/>
      <dgm:t>
        <a:bodyPr/>
        <a:lstStyle/>
        <a:p>
          <a:pPr rtl="0"/>
          <a:r>
            <a:rPr lang="en-US" sz="1800" dirty="0" smtClean="0"/>
            <a:t>Spare copy</a:t>
          </a:r>
          <a:endParaRPr lang="en-US" sz="1800" dirty="0"/>
        </a:p>
      </dgm:t>
    </dgm:pt>
    <dgm:pt modelId="{6C5C9B86-7AAA-465B-98FF-E3F38189A3AE}" type="parTrans" cxnId="{7E8A394C-0B32-41E9-BC7B-038412EB61D4}">
      <dgm:prSet/>
      <dgm:spPr/>
      <dgm:t>
        <a:bodyPr/>
        <a:lstStyle/>
        <a:p>
          <a:endParaRPr lang="en-US"/>
        </a:p>
      </dgm:t>
    </dgm:pt>
    <dgm:pt modelId="{7FDECB7D-540F-4AC8-A911-0EDE43878630}" type="sibTrans" cxnId="{7E8A394C-0B32-41E9-BC7B-038412EB61D4}">
      <dgm:prSet/>
      <dgm:spPr/>
      <dgm:t>
        <a:bodyPr/>
        <a:lstStyle/>
        <a:p>
          <a:endParaRPr lang="en-US"/>
        </a:p>
      </dgm:t>
    </dgm:pt>
    <dgm:pt modelId="{720AE7B9-47AD-4FF9-8447-DF1B8C5FD193}">
      <dgm:prSet custT="1"/>
      <dgm:spPr/>
      <dgm:t>
        <a:bodyPr/>
        <a:lstStyle/>
        <a:p>
          <a:pPr rtl="0"/>
          <a:r>
            <a:rPr lang="en-US" sz="1800" dirty="0" smtClean="0"/>
            <a:t>Ping/echo</a:t>
          </a:r>
          <a:endParaRPr lang="en-US" sz="1800" dirty="0"/>
        </a:p>
      </dgm:t>
    </dgm:pt>
    <dgm:pt modelId="{3722DDF4-26E2-4422-A516-DEEAC3ECF65B}" type="parTrans" cxnId="{C7B12242-93F1-42B1-8149-73B2BE7E9DC0}">
      <dgm:prSet/>
      <dgm:spPr/>
      <dgm:t>
        <a:bodyPr/>
        <a:lstStyle/>
        <a:p>
          <a:endParaRPr lang="en-US"/>
        </a:p>
      </dgm:t>
    </dgm:pt>
    <dgm:pt modelId="{D7F902F3-F976-415B-98C3-59057320C539}" type="sibTrans" cxnId="{C7B12242-93F1-42B1-8149-73B2BE7E9DC0}">
      <dgm:prSet/>
      <dgm:spPr/>
      <dgm:t>
        <a:bodyPr/>
        <a:lstStyle/>
        <a:p>
          <a:endParaRPr lang="en-US"/>
        </a:p>
      </dgm:t>
    </dgm:pt>
    <dgm:pt modelId="{7D7C3FA2-CE75-4B7D-A218-416906B8D917}">
      <dgm:prSet custT="1"/>
      <dgm:spPr/>
      <dgm:t>
        <a:bodyPr/>
        <a:lstStyle/>
        <a:p>
          <a:pPr rtl="0"/>
          <a:r>
            <a:rPr lang="en-US" sz="1800" dirty="0" smtClean="0"/>
            <a:t>Heartbeat</a:t>
          </a:r>
          <a:endParaRPr lang="en-US" sz="1800" dirty="0"/>
        </a:p>
      </dgm:t>
    </dgm:pt>
    <dgm:pt modelId="{14236E25-24F5-4DBC-8E23-FED5A30DEF0E}" type="parTrans" cxnId="{2648CEB6-4DB9-42A6-B700-4831395E15AC}">
      <dgm:prSet/>
      <dgm:spPr/>
      <dgm:t>
        <a:bodyPr/>
        <a:lstStyle/>
        <a:p>
          <a:endParaRPr lang="en-US"/>
        </a:p>
      </dgm:t>
    </dgm:pt>
    <dgm:pt modelId="{FB40D391-DB77-4C2C-BDCE-7A207CEAE6FE}" type="sibTrans" cxnId="{2648CEB6-4DB9-42A6-B700-4831395E15AC}">
      <dgm:prSet/>
      <dgm:spPr/>
      <dgm:t>
        <a:bodyPr/>
        <a:lstStyle/>
        <a:p>
          <a:endParaRPr lang="en-US"/>
        </a:p>
      </dgm:t>
    </dgm:pt>
    <dgm:pt modelId="{9B931718-FC68-4B2E-9854-492BCFE6FE83}">
      <dgm:prSet custT="1"/>
      <dgm:spPr/>
      <dgm:t>
        <a:bodyPr/>
        <a:lstStyle/>
        <a:p>
          <a:pPr rtl="0"/>
          <a:r>
            <a:rPr lang="en-US" sz="1800" dirty="0" smtClean="0"/>
            <a:t>Exception</a:t>
          </a:r>
          <a:endParaRPr lang="en-US" sz="1800" dirty="0"/>
        </a:p>
      </dgm:t>
    </dgm:pt>
    <dgm:pt modelId="{359E2506-5D19-4F9C-8688-C666576175A9}" type="parTrans" cxnId="{6E2E3B55-A6EB-46D7-B7D0-04629FD4C800}">
      <dgm:prSet/>
      <dgm:spPr/>
      <dgm:t>
        <a:bodyPr/>
        <a:lstStyle/>
        <a:p>
          <a:endParaRPr lang="en-US"/>
        </a:p>
      </dgm:t>
    </dgm:pt>
    <dgm:pt modelId="{3113A228-1208-4305-91A0-AEEDFF54B5B2}" type="sibTrans" cxnId="{6E2E3B55-A6EB-46D7-B7D0-04629FD4C800}">
      <dgm:prSet/>
      <dgm:spPr/>
      <dgm:t>
        <a:bodyPr/>
        <a:lstStyle/>
        <a:p>
          <a:endParaRPr lang="en-US"/>
        </a:p>
      </dgm:t>
    </dgm:pt>
    <dgm:pt modelId="{E9F5810C-05C5-4937-8779-609DD6BD5CFD}" type="pres">
      <dgm:prSet presAssocID="{A26E1133-27F8-42A1-91FE-23383B9ACC9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5A00B3E-FEA8-439F-999E-8DB6BC95DBC0}" type="pres">
      <dgm:prSet presAssocID="{43BDC9E6-B3ED-4E11-B81F-A36F96CA06AD}" presName="hierRoot1" presStyleCnt="0">
        <dgm:presLayoutVars>
          <dgm:hierBranch val="init"/>
        </dgm:presLayoutVars>
      </dgm:prSet>
      <dgm:spPr/>
    </dgm:pt>
    <dgm:pt modelId="{305CB9B7-E4C6-453D-AC39-1DA3FA25C576}" type="pres">
      <dgm:prSet presAssocID="{43BDC9E6-B3ED-4E11-B81F-A36F96CA06AD}" presName="rootComposite1" presStyleCnt="0"/>
      <dgm:spPr/>
    </dgm:pt>
    <dgm:pt modelId="{1AD90FEA-3135-49C2-A3C0-CFEDDC6405B3}" type="pres">
      <dgm:prSet presAssocID="{43BDC9E6-B3ED-4E11-B81F-A36F96CA06AD}" presName="rootText1" presStyleLbl="node0" presStyleIdx="0" presStyleCnt="1" custScaleX="217502" custScaleY="68885" custLinFactNeighborX="1602" custLinFactNeighborY="-451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86BC6-06CE-4768-9942-F4420543D5EE}" type="pres">
      <dgm:prSet presAssocID="{43BDC9E6-B3ED-4E11-B81F-A36F96CA06A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C72B6B4-B63E-4FE2-8CC2-5FA221770366}" type="pres">
      <dgm:prSet presAssocID="{43BDC9E6-B3ED-4E11-B81F-A36F96CA06AD}" presName="hierChild2" presStyleCnt="0"/>
      <dgm:spPr/>
    </dgm:pt>
    <dgm:pt modelId="{A3BC68A0-CABF-4126-884C-C90818E1E26E}" type="pres">
      <dgm:prSet presAssocID="{3EEFE082-C4FA-499A-BA01-E4B8217A4B73}" presName="Name37" presStyleLbl="parChTrans1D2" presStyleIdx="0" presStyleCnt="4"/>
      <dgm:spPr/>
      <dgm:t>
        <a:bodyPr/>
        <a:lstStyle/>
        <a:p>
          <a:endParaRPr lang="en-US"/>
        </a:p>
      </dgm:t>
    </dgm:pt>
    <dgm:pt modelId="{9B84C5AA-6259-445A-8F7A-6D366FCBB4AD}" type="pres">
      <dgm:prSet presAssocID="{843E3B21-DC9F-4CF8-A7F1-93BF704E47A7}" presName="hierRoot2" presStyleCnt="0">
        <dgm:presLayoutVars>
          <dgm:hierBranch val="init"/>
        </dgm:presLayoutVars>
      </dgm:prSet>
      <dgm:spPr/>
    </dgm:pt>
    <dgm:pt modelId="{F324FB99-E565-440D-9319-A2867DA87756}" type="pres">
      <dgm:prSet presAssocID="{843E3B21-DC9F-4CF8-A7F1-93BF704E47A7}" presName="rootComposite" presStyleCnt="0"/>
      <dgm:spPr/>
    </dgm:pt>
    <dgm:pt modelId="{5E5C4910-D5C2-4117-9825-0F4E2308A1D4}" type="pres">
      <dgm:prSet presAssocID="{843E3B21-DC9F-4CF8-A7F1-93BF704E47A7}" presName="rootText" presStyleLbl="node2" presStyleIdx="0" presStyleCnt="4" custScaleY="90886" custLinFactNeighborX="-19331" custLinFactNeighborY="123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B22B6A5-BFAD-4E5F-BED0-C002FA69FEEF}" type="pres">
      <dgm:prSet presAssocID="{843E3B21-DC9F-4CF8-A7F1-93BF704E47A7}" presName="rootConnector" presStyleLbl="node2" presStyleIdx="0" presStyleCnt="4"/>
      <dgm:spPr/>
      <dgm:t>
        <a:bodyPr/>
        <a:lstStyle/>
        <a:p>
          <a:endParaRPr lang="en-US"/>
        </a:p>
      </dgm:t>
    </dgm:pt>
    <dgm:pt modelId="{16186025-4BC6-46E2-97F6-F9084F02632D}" type="pres">
      <dgm:prSet presAssocID="{843E3B21-DC9F-4CF8-A7F1-93BF704E47A7}" presName="hierChild4" presStyleCnt="0"/>
      <dgm:spPr/>
    </dgm:pt>
    <dgm:pt modelId="{A83ED5F7-10A0-45C9-B814-5804FA76917E}" type="pres">
      <dgm:prSet presAssocID="{3722DDF4-26E2-4422-A516-DEEAC3ECF65B}" presName="Name37" presStyleLbl="parChTrans1D3" presStyleIdx="0" presStyleCnt="13"/>
      <dgm:spPr/>
      <dgm:t>
        <a:bodyPr/>
        <a:lstStyle/>
        <a:p>
          <a:endParaRPr lang="en-US"/>
        </a:p>
      </dgm:t>
    </dgm:pt>
    <dgm:pt modelId="{D44CFE56-6231-4D51-BDF4-F9842887D455}" type="pres">
      <dgm:prSet presAssocID="{720AE7B9-47AD-4FF9-8447-DF1B8C5FD193}" presName="hierRoot2" presStyleCnt="0">
        <dgm:presLayoutVars>
          <dgm:hierBranch val="init"/>
        </dgm:presLayoutVars>
      </dgm:prSet>
      <dgm:spPr/>
    </dgm:pt>
    <dgm:pt modelId="{F340CB26-8421-44AC-9592-9BB7E87D96B8}" type="pres">
      <dgm:prSet presAssocID="{720AE7B9-47AD-4FF9-8447-DF1B8C5FD193}" presName="rootComposite" presStyleCnt="0"/>
      <dgm:spPr/>
    </dgm:pt>
    <dgm:pt modelId="{1064D61A-5C37-497D-A6F5-6312AB6E3F5A}" type="pres">
      <dgm:prSet presAssocID="{720AE7B9-47AD-4FF9-8447-DF1B8C5FD193}" presName="rootText" presStyleLbl="node3" presStyleIdx="0" presStyleCnt="13" custLinFactNeighborX="-19331" custLinFactNeighborY="123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D0BA542-EABF-46D4-A11D-8954A50A4A27}" type="pres">
      <dgm:prSet presAssocID="{720AE7B9-47AD-4FF9-8447-DF1B8C5FD193}" presName="rootConnector" presStyleLbl="node3" presStyleIdx="0" presStyleCnt="13"/>
      <dgm:spPr/>
      <dgm:t>
        <a:bodyPr/>
        <a:lstStyle/>
        <a:p>
          <a:endParaRPr lang="en-US"/>
        </a:p>
      </dgm:t>
    </dgm:pt>
    <dgm:pt modelId="{CB5479DD-BB83-4A7F-A8FE-0204BBEBDE57}" type="pres">
      <dgm:prSet presAssocID="{720AE7B9-47AD-4FF9-8447-DF1B8C5FD193}" presName="hierChild4" presStyleCnt="0"/>
      <dgm:spPr/>
    </dgm:pt>
    <dgm:pt modelId="{72F3B94E-5E2C-4DF9-BCD5-3D635951032C}" type="pres">
      <dgm:prSet presAssocID="{720AE7B9-47AD-4FF9-8447-DF1B8C5FD193}" presName="hierChild5" presStyleCnt="0"/>
      <dgm:spPr/>
    </dgm:pt>
    <dgm:pt modelId="{A2B3E9C0-0CE1-4B88-9E71-F7CE1A7F99D7}" type="pres">
      <dgm:prSet presAssocID="{14236E25-24F5-4DBC-8E23-FED5A30DEF0E}" presName="Name37" presStyleLbl="parChTrans1D3" presStyleIdx="1" presStyleCnt="13"/>
      <dgm:spPr/>
      <dgm:t>
        <a:bodyPr/>
        <a:lstStyle/>
        <a:p>
          <a:endParaRPr lang="en-US"/>
        </a:p>
      </dgm:t>
    </dgm:pt>
    <dgm:pt modelId="{16797127-63BB-4E8C-8005-5E72B3FF9B3C}" type="pres">
      <dgm:prSet presAssocID="{7D7C3FA2-CE75-4B7D-A218-416906B8D917}" presName="hierRoot2" presStyleCnt="0">
        <dgm:presLayoutVars>
          <dgm:hierBranch val="init"/>
        </dgm:presLayoutVars>
      </dgm:prSet>
      <dgm:spPr/>
    </dgm:pt>
    <dgm:pt modelId="{4DFEF789-40AF-4966-81EA-F7C1CBE52773}" type="pres">
      <dgm:prSet presAssocID="{7D7C3FA2-CE75-4B7D-A218-416906B8D917}" presName="rootComposite" presStyleCnt="0"/>
      <dgm:spPr/>
    </dgm:pt>
    <dgm:pt modelId="{A77E27D0-EFD7-495B-9E1A-5A5371B8AB84}" type="pres">
      <dgm:prSet presAssocID="{7D7C3FA2-CE75-4B7D-A218-416906B8D917}" presName="rootText" presStyleLbl="node3" presStyleIdx="1" presStyleCnt="13" custLinFactNeighborX="-19331" custLinFactNeighborY="123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3F8734B-291F-4EE9-8AEC-5D7130065FE8}" type="pres">
      <dgm:prSet presAssocID="{7D7C3FA2-CE75-4B7D-A218-416906B8D917}" presName="rootConnector" presStyleLbl="node3" presStyleIdx="1" presStyleCnt="13"/>
      <dgm:spPr/>
      <dgm:t>
        <a:bodyPr/>
        <a:lstStyle/>
        <a:p>
          <a:endParaRPr lang="en-US"/>
        </a:p>
      </dgm:t>
    </dgm:pt>
    <dgm:pt modelId="{F1241E53-1837-4666-9A60-B6AD42958195}" type="pres">
      <dgm:prSet presAssocID="{7D7C3FA2-CE75-4B7D-A218-416906B8D917}" presName="hierChild4" presStyleCnt="0"/>
      <dgm:spPr/>
    </dgm:pt>
    <dgm:pt modelId="{E1079AD2-0C8E-44F0-9596-6D504E6161CE}" type="pres">
      <dgm:prSet presAssocID="{7D7C3FA2-CE75-4B7D-A218-416906B8D917}" presName="hierChild5" presStyleCnt="0"/>
      <dgm:spPr/>
    </dgm:pt>
    <dgm:pt modelId="{50C84909-550F-4BDC-8966-B86E5E1786AE}" type="pres">
      <dgm:prSet presAssocID="{359E2506-5D19-4F9C-8688-C666576175A9}" presName="Name37" presStyleLbl="parChTrans1D3" presStyleIdx="2" presStyleCnt="13"/>
      <dgm:spPr/>
      <dgm:t>
        <a:bodyPr/>
        <a:lstStyle/>
        <a:p>
          <a:endParaRPr lang="en-US"/>
        </a:p>
      </dgm:t>
    </dgm:pt>
    <dgm:pt modelId="{EBCAC25B-3E97-4708-AA7E-0D44E4C06B2C}" type="pres">
      <dgm:prSet presAssocID="{9B931718-FC68-4B2E-9854-492BCFE6FE83}" presName="hierRoot2" presStyleCnt="0">
        <dgm:presLayoutVars>
          <dgm:hierBranch val="init"/>
        </dgm:presLayoutVars>
      </dgm:prSet>
      <dgm:spPr/>
    </dgm:pt>
    <dgm:pt modelId="{56A22D43-7DD1-46E6-B06A-D1D662EE6DAD}" type="pres">
      <dgm:prSet presAssocID="{9B931718-FC68-4B2E-9854-492BCFE6FE83}" presName="rootComposite" presStyleCnt="0"/>
      <dgm:spPr/>
    </dgm:pt>
    <dgm:pt modelId="{984A4F3B-0A00-4E5A-9092-1922B8A7FAB3}" type="pres">
      <dgm:prSet presAssocID="{9B931718-FC68-4B2E-9854-492BCFE6FE83}" presName="rootText" presStyleLbl="node3" presStyleIdx="2" presStyleCnt="13" custLinFactNeighborX="-19331" custLinFactNeighborY="123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00B55C8-272E-490B-AB5F-A5C6369E8C79}" type="pres">
      <dgm:prSet presAssocID="{9B931718-FC68-4B2E-9854-492BCFE6FE83}" presName="rootConnector" presStyleLbl="node3" presStyleIdx="2" presStyleCnt="13"/>
      <dgm:spPr/>
      <dgm:t>
        <a:bodyPr/>
        <a:lstStyle/>
        <a:p>
          <a:endParaRPr lang="en-US"/>
        </a:p>
      </dgm:t>
    </dgm:pt>
    <dgm:pt modelId="{18D6C1B6-F902-4ABE-BB60-086B907C1C3A}" type="pres">
      <dgm:prSet presAssocID="{9B931718-FC68-4B2E-9854-492BCFE6FE83}" presName="hierChild4" presStyleCnt="0"/>
      <dgm:spPr/>
    </dgm:pt>
    <dgm:pt modelId="{4E3F742A-A2F5-4971-A026-90DA3CFE956C}" type="pres">
      <dgm:prSet presAssocID="{9B931718-FC68-4B2E-9854-492BCFE6FE83}" presName="hierChild5" presStyleCnt="0"/>
      <dgm:spPr/>
    </dgm:pt>
    <dgm:pt modelId="{82355405-192E-42E7-B905-7A6FE845C6D9}" type="pres">
      <dgm:prSet presAssocID="{843E3B21-DC9F-4CF8-A7F1-93BF704E47A7}" presName="hierChild5" presStyleCnt="0"/>
      <dgm:spPr/>
    </dgm:pt>
    <dgm:pt modelId="{96956835-3386-449C-A89B-65F7C680246D}" type="pres">
      <dgm:prSet presAssocID="{65D088B7-B36E-49AA-84B9-2BC51B326EA1}" presName="Name37" presStyleLbl="parChTrans1D2" presStyleIdx="1" presStyleCnt="4"/>
      <dgm:spPr/>
      <dgm:t>
        <a:bodyPr/>
        <a:lstStyle/>
        <a:p>
          <a:endParaRPr lang="en-US"/>
        </a:p>
      </dgm:t>
    </dgm:pt>
    <dgm:pt modelId="{DBD72DFC-EF80-4973-B6E5-D3C9AB052F9E}" type="pres">
      <dgm:prSet presAssocID="{E420C67E-C4C2-476B-9B47-FFB47D587009}" presName="hierRoot2" presStyleCnt="0">
        <dgm:presLayoutVars>
          <dgm:hierBranch val="init"/>
        </dgm:presLayoutVars>
      </dgm:prSet>
      <dgm:spPr/>
    </dgm:pt>
    <dgm:pt modelId="{72B31F8C-4060-4D82-8D0A-8A332812C464}" type="pres">
      <dgm:prSet presAssocID="{E420C67E-C4C2-476B-9B47-FFB47D587009}" presName="rootComposite" presStyleCnt="0"/>
      <dgm:spPr/>
    </dgm:pt>
    <dgm:pt modelId="{F0ED6141-24DB-4164-A2D4-B51E750525CD}" type="pres">
      <dgm:prSet presAssocID="{E420C67E-C4C2-476B-9B47-FFB47D587009}" presName="rootText" presStyleLbl="node2" presStyleIdx="1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5256018-C335-4CDB-9EC5-7AE2ABAC1E00}" type="pres">
      <dgm:prSet presAssocID="{E420C67E-C4C2-476B-9B47-FFB47D587009}" presName="rootConnector" presStyleLbl="node2" presStyleIdx="1" presStyleCnt="4"/>
      <dgm:spPr/>
      <dgm:t>
        <a:bodyPr/>
        <a:lstStyle/>
        <a:p>
          <a:endParaRPr lang="en-US"/>
        </a:p>
      </dgm:t>
    </dgm:pt>
    <dgm:pt modelId="{2A7D3334-4741-4667-BCDB-1A78491B4FD4}" type="pres">
      <dgm:prSet presAssocID="{E420C67E-C4C2-476B-9B47-FFB47D587009}" presName="hierChild4" presStyleCnt="0"/>
      <dgm:spPr/>
    </dgm:pt>
    <dgm:pt modelId="{CC07306D-4BD7-4477-BB61-A954489058D6}" type="pres">
      <dgm:prSet presAssocID="{C3334397-F4C9-43FD-9DE7-786437A51BF8}" presName="Name37" presStyleLbl="parChTrans1D3" presStyleIdx="3" presStyleCnt="13"/>
      <dgm:spPr/>
      <dgm:t>
        <a:bodyPr/>
        <a:lstStyle/>
        <a:p>
          <a:endParaRPr lang="en-US"/>
        </a:p>
      </dgm:t>
    </dgm:pt>
    <dgm:pt modelId="{0ECB6EE9-64D7-46FB-8A0A-B83CD370F0B4}" type="pres">
      <dgm:prSet presAssocID="{0216D3CF-84E5-4443-8082-6C6C297E9A4D}" presName="hierRoot2" presStyleCnt="0">
        <dgm:presLayoutVars>
          <dgm:hierBranch val="init"/>
        </dgm:presLayoutVars>
      </dgm:prSet>
      <dgm:spPr/>
    </dgm:pt>
    <dgm:pt modelId="{9D96850F-E3A0-4435-B942-5F48B18AC5F4}" type="pres">
      <dgm:prSet presAssocID="{0216D3CF-84E5-4443-8082-6C6C297E9A4D}" presName="rootComposite" presStyleCnt="0"/>
      <dgm:spPr/>
    </dgm:pt>
    <dgm:pt modelId="{CBCDE87F-FA6C-44B8-A9C2-1E747BE7F736}" type="pres">
      <dgm:prSet presAssocID="{0216D3CF-84E5-4443-8082-6C6C297E9A4D}" presName="rootText" presStyleLbl="node3" presStyleIdx="3" presStyleCnt="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F9F174C-7D69-49F6-A7FE-7ED9990EB82A}" type="pres">
      <dgm:prSet presAssocID="{0216D3CF-84E5-4443-8082-6C6C297E9A4D}" presName="rootConnector" presStyleLbl="node3" presStyleIdx="3" presStyleCnt="13"/>
      <dgm:spPr/>
      <dgm:t>
        <a:bodyPr/>
        <a:lstStyle/>
        <a:p>
          <a:endParaRPr lang="en-US"/>
        </a:p>
      </dgm:t>
    </dgm:pt>
    <dgm:pt modelId="{1934090D-CBAE-4AB8-9BE7-C9762145998D}" type="pres">
      <dgm:prSet presAssocID="{0216D3CF-84E5-4443-8082-6C6C297E9A4D}" presName="hierChild4" presStyleCnt="0"/>
      <dgm:spPr/>
    </dgm:pt>
    <dgm:pt modelId="{7BCCCAFF-8404-460B-9A5A-B8BF91057993}" type="pres">
      <dgm:prSet presAssocID="{0216D3CF-84E5-4443-8082-6C6C297E9A4D}" presName="hierChild5" presStyleCnt="0"/>
      <dgm:spPr/>
    </dgm:pt>
    <dgm:pt modelId="{FE10A4AF-D8A8-4F2D-9661-56E5DBB5B2C5}" type="pres">
      <dgm:prSet presAssocID="{62301F5E-BDD5-4369-B9CF-5999FECA1C85}" presName="Name37" presStyleLbl="parChTrans1D3" presStyleIdx="4" presStyleCnt="13"/>
      <dgm:spPr/>
      <dgm:t>
        <a:bodyPr/>
        <a:lstStyle/>
        <a:p>
          <a:endParaRPr lang="en-US"/>
        </a:p>
      </dgm:t>
    </dgm:pt>
    <dgm:pt modelId="{6E36B90A-357D-4409-934D-6F40EC568AE0}" type="pres">
      <dgm:prSet presAssocID="{90833815-F732-45AF-B735-7A208BE16A8A}" presName="hierRoot2" presStyleCnt="0">
        <dgm:presLayoutVars>
          <dgm:hierBranch val="init"/>
        </dgm:presLayoutVars>
      </dgm:prSet>
      <dgm:spPr/>
    </dgm:pt>
    <dgm:pt modelId="{AB55976F-0A75-48BF-8621-9232364F260E}" type="pres">
      <dgm:prSet presAssocID="{90833815-F732-45AF-B735-7A208BE16A8A}" presName="rootComposite" presStyleCnt="0"/>
      <dgm:spPr/>
    </dgm:pt>
    <dgm:pt modelId="{5D0F02D1-4A23-4B53-AF4F-3529BE69829E}" type="pres">
      <dgm:prSet presAssocID="{90833815-F732-45AF-B735-7A208BE16A8A}" presName="rootText" presStyleLbl="node3" presStyleIdx="4" presStyleCnt="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FF15CAA-9BF1-4437-B877-2B6831555847}" type="pres">
      <dgm:prSet presAssocID="{90833815-F732-45AF-B735-7A208BE16A8A}" presName="rootConnector" presStyleLbl="node3" presStyleIdx="4" presStyleCnt="13"/>
      <dgm:spPr/>
      <dgm:t>
        <a:bodyPr/>
        <a:lstStyle/>
        <a:p>
          <a:endParaRPr lang="en-US"/>
        </a:p>
      </dgm:t>
    </dgm:pt>
    <dgm:pt modelId="{8EE5665B-F21D-4DA6-A444-6C77DD3C6F95}" type="pres">
      <dgm:prSet presAssocID="{90833815-F732-45AF-B735-7A208BE16A8A}" presName="hierChild4" presStyleCnt="0"/>
      <dgm:spPr/>
    </dgm:pt>
    <dgm:pt modelId="{F1F43870-C4AC-4AF4-AB05-6A054FC06D63}" type="pres">
      <dgm:prSet presAssocID="{90833815-F732-45AF-B735-7A208BE16A8A}" presName="hierChild5" presStyleCnt="0"/>
      <dgm:spPr/>
    </dgm:pt>
    <dgm:pt modelId="{1D4D3FE4-1739-4B3C-ACD2-597D18FBC50F}" type="pres">
      <dgm:prSet presAssocID="{453F9760-1876-428B-8CB6-DA8F60516D89}" presName="Name37" presStyleLbl="parChTrans1D3" presStyleIdx="5" presStyleCnt="13"/>
      <dgm:spPr/>
      <dgm:t>
        <a:bodyPr/>
        <a:lstStyle/>
        <a:p>
          <a:endParaRPr lang="en-US"/>
        </a:p>
      </dgm:t>
    </dgm:pt>
    <dgm:pt modelId="{9115B6B6-EA79-4FE0-843B-D82CDE234246}" type="pres">
      <dgm:prSet presAssocID="{2F6572D1-3E4E-41CC-B816-15F6AA753750}" presName="hierRoot2" presStyleCnt="0">
        <dgm:presLayoutVars>
          <dgm:hierBranch val="init"/>
        </dgm:presLayoutVars>
      </dgm:prSet>
      <dgm:spPr/>
    </dgm:pt>
    <dgm:pt modelId="{B54B6D9A-0CB7-42FF-A0FD-F2137F2080D7}" type="pres">
      <dgm:prSet presAssocID="{2F6572D1-3E4E-41CC-B816-15F6AA753750}" presName="rootComposite" presStyleCnt="0"/>
      <dgm:spPr/>
    </dgm:pt>
    <dgm:pt modelId="{7BABB840-5689-4566-85C9-55C4A127C4C6}" type="pres">
      <dgm:prSet presAssocID="{2F6572D1-3E4E-41CC-B816-15F6AA753750}" presName="rootText" presStyleLbl="node3" presStyleIdx="5" presStyleCnt="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3C99CCA-0A47-4420-ABC8-53654C0C3796}" type="pres">
      <dgm:prSet presAssocID="{2F6572D1-3E4E-41CC-B816-15F6AA753750}" presName="rootConnector" presStyleLbl="node3" presStyleIdx="5" presStyleCnt="13"/>
      <dgm:spPr/>
      <dgm:t>
        <a:bodyPr/>
        <a:lstStyle/>
        <a:p>
          <a:endParaRPr lang="en-US"/>
        </a:p>
      </dgm:t>
    </dgm:pt>
    <dgm:pt modelId="{0D889D42-77FB-49A7-B6E8-3A8C670AFEAD}" type="pres">
      <dgm:prSet presAssocID="{2F6572D1-3E4E-41CC-B816-15F6AA753750}" presName="hierChild4" presStyleCnt="0"/>
      <dgm:spPr/>
    </dgm:pt>
    <dgm:pt modelId="{6BE4F57E-EC21-4523-B1EB-3AEDD24C4D44}" type="pres">
      <dgm:prSet presAssocID="{2F6572D1-3E4E-41CC-B816-15F6AA753750}" presName="hierChild5" presStyleCnt="0"/>
      <dgm:spPr/>
    </dgm:pt>
    <dgm:pt modelId="{3A94D9E8-C2A3-4765-9477-D710CC646957}" type="pres">
      <dgm:prSet presAssocID="{6C5C9B86-7AAA-465B-98FF-E3F38189A3AE}" presName="Name37" presStyleLbl="parChTrans1D3" presStyleIdx="6" presStyleCnt="13"/>
      <dgm:spPr/>
      <dgm:t>
        <a:bodyPr/>
        <a:lstStyle/>
        <a:p>
          <a:endParaRPr lang="en-US"/>
        </a:p>
      </dgm:t>
    </dgm:pt>
    <dgm:pt modelId="{2EAD44A1-134B-439B-87EC-257234921AE5}" type="pres">
      <dgm:prSet presAssocID="{CFEBB133-5D80-4E9D-815E-BA7E2B5804D2}" presName="hierRoot2" presStyleCnt="0">
        <dgm:presLayoutVars>
          <dgm:hierBranch val="init"/>
        </dgm:presLayoutVars>
      </dgm:prSet>
      <dgm:spPr/>
    </dgm:pt>
    <dgm:pt modelId="{2FB73BF3-3C5D-4AD3-9D1C-8A589100FCB7}" type="pres">
      <dgm:prSet presAssocID="{CFEBB133-5D80-4E9D-815E-BA7E2B5804D2}" presName="rootComposite" presStyleCnt="0"/>
      <dgm:spPr/>
    </dgm:pt>
    <dgm:pt modelId="{50D60845-A14B-4DD0-8DB4-8B07FEB31A21}" type="pres">
      <dgm:prSet presAssocID="{CFEBB133-5D80-4E9D-815E-BA7E2B5804D2}" presName="rootText" presStyleLbl="node3" presStyleIdx="6" presStyleCnt="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5C39B9-C17D-4782-B68D-D9F73AAEE095}" type="pres">
      <dgm:prSet presAssocID="{CFEBB133-5D80-4E9D-815E-BA7E2B5804D2}" presName="rootConnector" presStyleLbl="node3" presStyleIdx="6" presStyleCnt="13"/>
      <dgm:spPr/>
      <dgm:t>
        <a:bodyPr/>
        <a:lstStyle/>
        <a:p>
          <a:endParaRPr lang="en-US"/>
        </a:p>
      </dgm:t>
    </dgm:pt>
    <dgm:pt modelId="{FE161E8F-9C2C-4330-91D6-9E6A7C6F19FB}" type="pres">
      <dgm:prSet presAssocID="{CFEBB133-5D80-4E9D-815E-BA7E2B5804D2}" presName="hierChild4" presStyleCnt="0"/>
      <dgm:spPr/>
    </dgm:pt>
    <dgm:pt modelId="{DCFA5C64-38E4-453B-BB1F-AE8ADB7F8B50}" type="pres">
      <dgm:prSet presAssocID="{CFEBB133-5D80-4E9D-815E-BA7E2B5804D2}" presName="hierChild5" presStyleCnt="0"/>
      <dgm:spPr/>
    </dgm:pt>
    <dgm:pt modelId="{1DBB8D6B-1EA9-448A-B87B-A162873E7B21}" type="pres">
      <dgm:prSet presAssocID="{E420C67E-C4C2-476B-9B47-FFB47D587009}" presName="hierChild5" presStyleCnt="0"/>
      <dgm:spPr/>
    </dgm:pt>
    <dgm:pt modelId="{C137CAE9-66E1-459B-A733-9B53B02E07AF}" type="pres">
      <dgm:prSet presAssocID="{6ED4E1AA-EFDD-4E70-836E-3DB36084DE98}" presName="Name37" presStyleLbl="parChTrans1D2" presStyleIdx="2" presStyleCnt="4"/>
      <dgm:spPr/>
      <dgm:t>
        <a:bodyPr/>
        <a:lstStyle/>
        <a:p>
          <a:endParaRPr lang="en-US"/>
        </a:p>
      </dgm:t>
    </dgm:pt>
    <dgm:pt modelId="{35CBA655-D40F-4A2B-B71A-711D392B5A84}" type="pres">
      <dgm:prSet presAssocID="{1CE2D78B-C788-472A-8424-7F9A4AB5205E}" presName="hierRoot2" presStyleCnt="0">
        <dgm:presLayoutVars>
          <dgm:hierBranch val="init"/>
        </dgm:presLayoutVars>
      </dgm:prSet>
      <dgm:spPr/>
    </dgm:pt>
    <dgm:pt modelId="{9DC86AED-B6DB-4100-9EA0-4E60FFB4A367}" type="pres">
      <dgm:prSet presAssocID="{1CE2D78B-C788-472A-8424-7F9A4AB5205E}" presName="rootComposite" presStyleCnt="0"/>
      <dgm:spPr/>
    </dgm:pt>
    <dgm:pt modelId="{A5F2589C-C16C-45F2-9A3D-F2A6CB2476D1}" type="pres">
      <dgm:prSet presAssocID="{1CE2D78B-C788-472A-8424-7F9A4AB5205E}" presName="rootText" presStyleLbl="node2" presStyleIdx="2" presStyleCnt="4" custScaleX="11656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7B6648-0B7F-4E1F-B6C5-CE0E2F04B9FF}" type="pres">
      <dgm:prSet presAssocID="{1CE2D78B-C788-472A-8424-7F9A4AB5205E}" presName="rootConnector" presStyleLbl="node2" presStyleIdx="2" presStyleCnt="4"/>
      <dgm:spPr/>
      <dgm:t>
        <a:bodyPr/>
        <a:lstStyle/>
        <a:p>
          <a:endParaRPr lang="en-US"/>
        </a:p>
      </dgm:t>
    </dgm:pt>
    <dgm:pt modelId="{29CE8073-D253-4588-B954-7167D33B1947}" type="pres">
      <dgm:prSet presAssocID="{1CE2D78B-C788-472A-8424-7F9A4AB5205E}" presName="hierChild4" presStyleCnt="0"/>
      <dgm:spPr/>
    </dgm:pt>
    <dgm:pt modelId="{AEDC7120-FE6F-49D8-95F2-AB1B2B6AC9A8}" type="pres">
      <dgm:prSet presAssocID="{F0BD47AB-7AC9-40A2-A96D-1A911EFDE7FF}" presName="Name37" presStyleLbl="parChTrans1D3" presStyleIdx="7" presStyleCnt="13"/>
      <dgm:spPr/>
      <dgm:t>
        <a:bodyPr/>
        <a:lstStyle/>
        <a:p>
          <a:endParaRPr lang="en-US"/>
        </a:p>
      </dgm:t>
    </dgm:pt>
    <dgm:pt modelId="{F65159AB-B6AE-4C58-BE85-DB4966F15FBA}" type="pres">
      <dgm:prSet presAssocID="{A240A1E1-162D-4A6E-A806-B6FF45B3AB68}" presName="hierRoot2" presStyleCnt="0">
        <dgm:presLayoutVars>
          <dgm:hierBranch val="init"/>
        </dgm:presLayoutVars>
      </dgm:prSet>
      <dgm:spPr/>
    </dgm:pt>
    <dgm:pt modelId="{4413A7CD-B07B-4481-95F7-63264BEB8326}" type="pres">
      <dgm:prSet presAssocID="{A240A1E1-162D-4A6E-A806-B6FF45B3AB68}" presName="rootComposite" presStyleCnt="0"/>
      <dgm:spPr/>
    </dgm:pt>
    <dgm:pt modelId="{6E033C69-6BA8-4812-AE4E-0022A986E944}" type="pres">
      <dgm:prSet presAssocID="{A240A1E1-162D-4A6E-A806-B6FF45B3AB68}" presName="rootText" presStyleLbl="node3" presStyleIdx="7" presStyleCnt="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C564F4-BF5C-4321-B86B-65391CEDEFC7}" type="pres">
      <dgm:prSet presAssocID="{A240A1E1-162D-4A6E-A806-B6FF45B3AB68}" presName="rootConnector" presStyleLbl="node3" presStyleIdx="7" presStyleCnt="13"/>
      <dgm:spPr/>
      <dgm:t>
        <a:bodyPr/>
        <a:lstStyle/>
        <a:p>
          <a:endParaRPr lang="en-US"/>
        </a:p>
      </dgm:t>
    </dgm:pt>
    <dgm:pt modelId="{7C0A51FE-5187-4FBA-A9F6-DFFAA1B3DD3E}" type="pres">
      <dgm:prSet presAssocID="{A240A1E1-162D-4A6E-A806-B6FF45B3AB68}" presName="hierChild4" presStyleCnt="0"/>
      <dgm:spPr/>
    </dgm:pt>
    <dgm:pt modelId="{A5F1F6CB-B812-4FEA-ACD0-E838992C8274}" type="pres">
      <dgm:prSet presAssocID="{A240A1E1-162D-4A6E-A806-B6FF45B3AB68}" presName="hierChild5" presStyleCnt="0"/>
      <dgm:spPr/>
    </dgm:pt>
    <dgm:pt modelId="{28E82B1A-B1F2-4CC5-9B64-B60015CBF624}" type="pres">
      <dgm:prSet presAssocID="{A60BCA66-49BB-4275-9110-8B471B3FC59B}" presName="Name37" presStyleLbl="parChTrans1D3" presStyleIdx="8" presStyleCnt="13"/>
      <dgm:spPr/>
      <dgm:t>
        <a:bodyPr/>
        <a:lstStyle/>
        <a:p>
          <a:endParaRPr lang="en-US"/>
        </a:p>
      </dgm:t>
    </dgm:pt>
    <dgm:pt modelId="{B22DAA2B-22C5-4EFA-A0A6-9AD0235D2103}" type="pres">
      <dgm:prSet presAssocID="{35016019-1F0E-47A9-A9CB-AE98C0AFCFC1}" presName="hierRoot2" presStyleCnt="0">
        <dgm:presLayoutVars>
          <dgm:hierBranch val="init"/>
        </dgm:presLayoutVars>
      </dgm:prSet>
      <dgm:spPr/>
    </dgm:pt>
    <dgm:pt modelId="{514CA667-AA27-4D37-9311-1D5D85EF643D}" type="pres">
      <dgm:prSet presAssocID="{35016019-1F0E-47A9-A9CB-AE98C0AFCFC1}" presName="rootComposite" presStyleCnt="0"/>
      <dgm:spPr/>
    </dgm:pt>
    <dgm:pt modelId="{428A54D9-43F6-47B6-B3A2-FDCE09CB5A97}" type="pres">
      <dgm:prSet presAssocID="{35016019-1F0E-47A9-A9CB-AE98C0AFCFC1}" presName="rootText" presStyleLbl="node3" presStyleIdx="8" presStyleCnt="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1DAB6FE-4097-4695-9397-7DCCE262634B}" type="pres">
      <dgm:prSet presAssocID="{35016019-1F0E-47A9-A9CB-AE98C0AFCFC1}" presName="rootConnector" presStyleLbl="node3" presStyleIdx="8" presStyleCnt="13"/>
      <dgm:spPr/>
      <dgm:t>
        <a:bodyPr/>
        <a:lstStyle/>
        <a:p>
          <a:endParaRPr lang="en-US"/>
        </a:p>
      </dgm:t>
    </dgm:pt>
    <dgm:pt modelId="{F4CC167B-F2F2-455C-9A45-823F18AFEF9A}" type="pres">
      <dgm:prSet presAssocID="{35016019-1F0E-47A9-A9CB-AE98C0AFCFC1}" presName="hierChild4" presStyleCnt="0"/>
      <dgm:spPr/>
    </dgm:pt>
    <dgm:pt modelId="{A5D0575B-48E0-4A98-88E8-8B4961A6F762}" type="pres">
      <dgm:prSet presAssocID="{35016019-1F0E-47A9-A9CB-AE98C0AFCFC1}" presName="hierChild5" presStyleCnt="0"/>
      <dgm:spPr/>
    </dgm:pt>
    <dgm:pt modelId="{11628582-088E-42FA-B6EC-953F652565B0}" type="pres">
      <dgm:prSet presAssocID="{9275B05E-F520-4192-9B33-84AEEBC3F62D}" presName="Name37" presStyleLbl="parChTrans1D3" presStyleIdx="9" presStyleCnt="13"/>
      <dgm:spPr/>
      <dgm:t>
        <a:bodyPr/>
        <a:lstStyle/>
        <a:p>
          <a:endParaRPr lang="en-US"/>
        </a:p>
      </dgm:t>
    </dgm:pt>
    <dgm:pt modelId="{7E6CA653-D7FD-4B20-AE44-C1F44E30C01B}" type="pres">
      <dgm:prSet presAssocID="{49742260-F14F-4BCB-8D88-ADD2EB5024EC}" presName="hierRoot2" presStyleCnt="0">
        <dgm:presLayoutVars>
          <dgm:hierBranch val="init"/>
        </dgm:presLayoutVars>
      </dgm:prSet>
      <dgm:spPr/>
    </dgm:pt>
    <dgm:pt modelId="{E179F35A-A640-480A-9C40-3D39813B5DA3}" type="pres">
      <dgm:prSet presAssocID="{49742260-F14F-4BCB-8D88-ADD2EB5024EC}" presName="rootComposite" presStyleCnt="0"/>
      <dgm:spPr/>
    </dgm:pt>
    <dgm:pt modelId="{93507A0E-B606-4F7A-9C01-283769128FF2}" type="pres">
      <dgm:prSet presAssocID="{49742260-F14F-4BCB-8D88-ADD2EB5024EC}" presName="rootText" presStyleLbl="node3" presStyleIdx="9" presStyleCnt="1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A7ED8CE-14CF-4D38-BE63-D19E93618025}" type="pres">
      <dgm:prSet presAssocID="{49742260-F14F-4BCB-8D88-ADD2EB5024EC}" presName="rootConnector" presStyleLbl="node3" presStyleIdx="9" presStyleCnt="13"/>
      <dgm:spPr/>
      <dgm:t>
        <a:bodyPr/>
        <a:lstStyle/>
        <a:p>
          <a:endParaRPr lang="en-US"/>
        </a:p>
      </dgm:t>
    </dgm:pt>
    <dgm:pt modelId="{D06BFE77-47E2-4E99-9240-F26F88BFBEAB}" type="pres">
      <dgm:prSet presAssocID="{49742260-F14F-4BCB-8D88-ADD2EB5024EC}" presName="hierChild4" presStyleCnt="0"/>
      <dgm:spPr/>
    </dgm:pt>
    <dgm:pt modelId="{801CA00E-B2B0-4EC5-9889-E9E28C332373}" type="pres">
      <dgm:prSet presAssocID="{49742260-F14F-4BCB-8D88-ADD2EB5024EC}" presName="hierChild5" presStyleCnt="0"/>
      <dgm:spPr/>
    </dgm:pt>
    <dgm:pt modelId="{528156B2-647C-44D5-ABAD-EBDCDF85B348}" type="pres">
      <dgm:prSet presAssocID="{1CE2D78B-C788-472A-8424-7F9A4AB5205E}" presName="hierChild5" presStyleCnt="0"/>
      <dgm:spPr/>
    </dgm:pt>
    <dgm:pt modelId="{B562ECC0-9994-4B01-9E77-D5C13C496118}" type="pres">
      <dgm:prSet presAssocID="{54165FB5-F7A3-4BBF-B199-2BE2BA410DE8}" presName="Name37" presStyleLbl="parChTrans1D2" presStyleIdx="3" presStyleCnt="4"/>
      <dgm:spPr/>
      <dgm:t>
        <a:bodyPr/>
        <a:lstStyle/>
        <a:p>
          <a:endParaRPr lang="en-US"/>
        </a:p>
      </dgm:t>
    </dgm:pt>
    <dgm:pt modelId="{E18799E9-9DA7-423F-B7B3-369EFE76B3B6}" type="pres">
      <dgm:prSet presAssocID="{C35FC96E-9015-4790-BDC3-6E0D4D502FCB}" presName="hierRoot2" presStyleCnt="0">
        <dgm:presLayoutVars>
          <dgm:hierBranch val="init"/>
        </dgm:presLayoutVars>
      </dgm:prSet>
      <dgm:spPr/>
    </dgm:pt>
    <dgm:pt modelId="{354F8417-6C70-4131-8450-E52EDD2EFA17}" type="pres">
      <dgm:prSet presAssocID="{C35FC96E-9015-4790-BDC3-6E0D4D502FCB}" presName="rootComposite" presStyleCnt="0"/>
      <dgm:spPr/>
    </dgm:pt>
    <dgm:pt modelId="{67A44139-B3F0-4118-89E8-A44A0D503C36}" type="pres">
      <dgm:prSet presAssocID="{C35FC96E-9015-4790-BDC3-6E0D4D502FCB}" presName="rootText" presStyleLbl="node2" presStyleIdx="3" presStyleCnt="4" custLinFactNeighborX="276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2267437-59D9-4F70-9854-AF295901641A}" type="pres">
      <dgm:prSet presAssocID="{C35FC96E-9015-4790-BDC3-6E0D4D502FCB}" presName="rootConnector" presStyleLbl="node2" presStyleIdx="3" presStyleCnt="4"/>
      <dgm:spPr/>
      <dgm:t>
        <a:bodyPr/>
        <a:lstStyle/>
        <a:p>
          <a:endParaRPr lang="en-US"/>
        </a:p>
      </dgm:t>
    </dgm:pt>
    <dgm:pt modelId="{A6AF8EE9-DBFC-447B-8940-E76A065FD97B}" type="pres">
      <dgm:prSet presAssocID="{C35FC96E-9015-4790-BDC3-6E0D4D502FCB}" presName="hierChild4" presStyleCnt="0"/>
      <dgm:spPr/>
    </dgm:pt>
    <dgm:pt modelId="{2BC6CEE4-3F67-4FA6-8639-65EC4CCFF4D9}" type="pres">
      <dgm:prSet presAssocID="{4E25AF54-5C18-4905-8913-7D1EA2AC6905}" presName="Name37" presStyleLbl="parChTrans1D3" presStyleIdx="10" presStyleCnt="13"/>
      <dgm:spPr/>
      <dgm:t>
        <a:bodyPr/>
        <a:lstStyle/>
        <a:p>
          <a:endParaRPr lang="en-US"/>
        </a:p>
      </dgm:t>
    </dgm:pt>
    <dgm:pt modelId="{56EAD692-CF12-4F08-9E91-48B2A708FB71}" type="pres">
      <dgm:prSet presAssocID="{AFCA2418-8D6B-4E9C-BE52-FC74C908050F}" presName="hierRoot2" presStyleCnt="0">
        <dgm:presLayoutVars>
          <dgm:hierBranch val="init"/>
        </dgm:presLayoutVars>
      </dgm:prSet>
      <dgm:spPr/>
    </dgm:pt>
    <dgm:pt modelId="{17485795-B1F1-44AB-A6F9-533EF86E010F}" type="pres">
      <dgm:prSet presAssocID="{AFCA2418-8D6B-4E9C-BE52-FC74C908050F}" presName="rootComposite" presStyleCnt="0"/>
      <dgm:spPr/>
    </dgm:pt>
    <dgm:pt modelId="{1B4F947A-69EB-46FF-A1EA-7664283D213E}" type="pres">
      <dgm:prSet presAssocID="{AFCA2418-8D6B-4E9C-BE52-FC74C908050F}" presName="rootText" presStyleLbl="node3" presStyleIdx="10" presStyleCnt="13" custScaleX="167040" custScaleY="138944" custLinFactNeighborX="276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553D0C6-AEE4-4F65-8DAC-62449D94D6A7}" type="pres">
      <dgm:prSet presAssocID="{AFCA2418-8D6B-4E9C-BE52-FC74C908050F}" presName="rootConnector" presStyleLbl="node3" presStyleIdx="10" presStyleCnt="13"/>
      <dgm:spPr/>
      <dgm:t>
        <a:bodyPr/>
        <a:lstStyle/>
        <a:p>
          <a:endParaRPr lang="en-US"/>
        </a:p>
      </dgm:t>
    </dgm:pt>
    <dgm:pt modelId="{704B6FE3-1A93-464C-BD7D-26786EA03069}" type="pres">
      <dgm:prSet presAssocID="{AFCA2418-8D6B-4E9C-BE52-FC74C908050F}" presName="hierChild4" presStyleCnt="0"/>
      <dgm:spPr/>
    </dgm:pt>
    <dgm:pt modelId="{DA9CB0A7-0D84-4FCC-8CAA-C663566F179D}" type="pres">
      <dgm:prSet presAssocID="{AFCA2418-8D6B-4E9C-BE52-FC74C908050F}" presName="hierChild5" presStyleCnt="0"/>
      <dgm:spPr/>
    </dgm:pt>
    <dgm:pt modelId="{981682D2-6375-4500-994F-C7CC83594561}" type="pres">
      <dgm:prSet presAssocID="{645C00E4-762B-4277-AD48-4328B4AF7430}" presName="Name37" presStyleLbl="parChTrans1D3" presStyleIdx="11" presStyleCnt="13"/>
      <dgm:spPr/>
      <dgm:t>
        <a:bodyPr/>
        <a:lstStyle/>
        <a:p>
          <a:endParaRPr lang="en-US"/>
        </a:p>
      </dgm:t>
    </dgm:pt>
    <dgm:pt modelId="{5AD24796-DC78-4C67-B9F3-06DC4CB79087}" type="pres">
      <dgm:prSet presAssocID="{C6E107C8-C87F-4E03-9C51-3B0FC309122B}" presName="hierRoot2" presStyleCnt="0">
        <dgm:presLayoutVars>
          <dgm:hierBranch val="init"/>
        </dgm:presLayoutVars>
      </dgm:prSet>
      <dgm:spPr/>
    </dgm:pt>
    <dgm:pt modelId="{0E2F19BE-3966-4520-8470-5F47706807ED}" type="pres">
      <dgm:prSet presAssocID="{C6E107C8-C87F-4E03-9C51-3B0FC309122B}" presName="rootComposite" presStyleCnt="0"/>
      <dgm:spPr/>
    </dgm:pt>
    <dgm:pt modelId="{78B1DB83-1FBB-4B72-AADA-6CBB1DAEF356}" type="pres">
      <dgm:prSet presAssocID="{C6E107C8-C87F-4E03-9C51-3B0FC309122B}" presName="rootText" presStyleLbl="node3" presStyleIdx="11" presStyleCnt="13" custScaleX="182665" custLinFactNeighborX="276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B23809A-293F-4A54-B283-6C2D984F118D}" type="pres">
      <dgm:prSet presAssocID="{C6E107C8-C87F-4E03-9C51-3B0FC309122B}" presName="rootConnector" presStyleLbl="node3" presStyleIdx="11" presStyleCnt="13"/>
      <dgm:spPr/>
      <dgm:t>
        <a:bodyPr/>
        <a:lstStyle/>
        <a:p>
          <a:endParaRPr lang="en-US"/>
        </a:p>
      </dgm:t>
    </dgm:pt>
    <dgm:pt modelId="{9F248D76-C2BC-4060-8C04-B530C444F409}" type="pres">
      <dgm:prSet presAssocID="{C6E107C8-C87F-4E03-9C51-3B0FC309122B}" presName="hierChild4" presStyleCnt="0"/>
      <dgm:spPr/>
    </dgm:pt>
    <dgm:pt modelId="{6105CD00-5C50-452A-994E-5B0FFFC4DA91}" type="pres">
      <dgm:prSet presAssocID="{C6E107C8-C87F-4E03-9C51-3B0FC309122B}" presName="hierChild5" presStyleCnt="0"/>
      <dgm:spPr/>
    </dgm:pt>
    <dgm:pt modelId="{AD70828E-DDD4-480C-BDFF-1E596F6615D1}" type="pres">
      <dgm:prSet presAssocID="{28774598-E592-4921-B255-0225EB6D096E}" presName="Name37" presStyleLbl="parChTrans1D3" presStyleIdx="12" presStyleCnt="13"/>
      <dgm:spPr/>
      <dgm:t>
        <a:bodyPr/>
        <a:lstStyle/>
        <a:p>
          <a:endParaRPr lang="en-US"/>
        </a:p>
      </dgm:t>
    </dgm:pt>
    <dgm:pt modelId="{147EF30B-BA3D-4473-9AD2-CC7014F27C11}" type="pres">
      <dgm:prSet presAssocID="{09967023-FD4B-4E34-A1C9-A393B75E32BA}" presName="hierRoot2" presStyleCnt="0">
        <dgm:presLayoutVars>
          <dgm:hierBranch val="init"/>
        </dgm:presLayoutVars>
      </dgm:prSet>
      <dgm:spPr/>
    </dgm:pt>
    <dgm:pt modelId="{77306BB1-6CDB-40C5-85B1-4980890A9206}" type="pres">
      <dgm:prSet presAssocID="{09967023-FD4B-4E34-A1C9-A393B75E32BA}" presName="rootComposite" presStyleCnt="0"/>
      <dgm:spPr/>
    </dgm:pt>
    <dgm:pt modelId="{43C79B55-7800-4403-B3B4-49E5363FFF1E}" type="pres">
      <dgm:prSet presAssocID="{09967023-FD4B-4E34-A1C9-A393B75E32BA}" presName="rootText" presStyleLbl="node3" presStyleIdx="12" presStyleCnt="13" custScaleX="178849" custLinFactNeighborX="276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D009694-C9A9-4545-B9B4-AE343C4C6314}" type="pres">
      <dgm:prSet presAssocID="{09967023-FD4B-4E34-A1C9-A393B75E32BA}" presName="rootConnector" presStyleLbl="node3" presStyleIdx="12" presStyleCnt="13"/>
      <dgm:spPr/>
      <dgm:t>
        <a:bodyPr/>
        <a:lstStyle/>
        <a:p>
          <a:endParaRPr lang="en-US"/>
        </a:p>
      </dgm:t>
    </dgm:pt>
    <dgm:pt modelId="{E7CAB4B1-64D6-4507-9B2D-46604CB6848C}" type="pres">
      <dgm:prSet presAssocID="{09967023-FD4B-4E34-A1C9-A393B75E32BA}" presName="hierChild4" presStyleCnt="0"/>
      <dgm:spPr/>
    </dgm:pt>
    <dgm:pt modelId="{283463B1-15A6-4BEF-B96E-DE2502D9F6DF}" type="pres">
      <dgm:prSet presAssocID="{09967023-FD4B-4E34-A1C9-A393B75E32BA}" presName="hierChild5" presStyleCnt="0"/>
      <dgm:spPr/>
    </dgm:pt>
    <dgm:pt modelId="{430C728D-004C-49FD-A0C1-71CD6E772786}" type="pres">
      <dgm:prSet presAssocID="{C35FC96E-9015-4790-BDC3-6E0D4D502FCB}" presName="hierChild5" presStyleCnt="0"/>
      <dgm:spPr/>
    </dgm:pt>
    <dgm:pt modelId="{B87F60ED-85BE-4872-BA6E-CDCB9CBDC6A3}" type="pres">
      <dgm:prSet presAssocID="{43BDC9E6-B3ED-4E11-B81F-A36F96CA06AD}" presName="hierChild3" presStyleCnt="0"/>
      <dgm:spPr/>
    </dgm:pt>
  </dgm:ptLst>
  <dgm:cxnLst>
    <dgm:cxn modelId="{06E71150-3811-4FC5-8858-0203DD6C998E}" srcId="{E420C67E-C4C2-476B-9B47-FFB47D587009}" destId="{2F6572D1-3E4E-41CC-B816-15F6AA753750}" srcOrd="2" destOrd="0" parTransId="{453F9760-1876-428B-8CB6-DA8F60516D89}" sibTransId="{F36BC338-6ADD-4D27-8F50-A2943AF092AF}"/>
    <dgm:cxn modelId="{AF611182-AAE8-4190-BE35-A2473E50306B}" srcId="{C35FC96E-9015-4790-BDC3-6E0D4D502FCB}" destId="{C6E107C8-C87F-4E03-9C51-3B0FC309122B}" srcOrd="1" destOrd="0" parTransId="{645C00E4-762B-4277-AD48-4328B4AF7430}" sibTransId="{E622C44F-BC5B-49E7-9D58-720E5F6040E1}"/>
    <dgm:cxn modelId="{2648CEB6-4DB9-42A6-B700-4831395E15AC}" srcId="{843E3B21-DC9F-4CF8-A7F1-93BF704E47A7}" destId="{7D7C3FA2-CE75-4B7D-A218-416906B8D917}" srcOrd="1" destOrd="0" parTransId="{14236E25-24F5-4DBC-8E23-FED5A30DEF0E}" sibTransId="{FB40D391-DB77-4C2C-BDCE-7A207CEAE6FE}"/>
    <dgm:cxn modelId="{EAFE72B4-848E-4CAC-8C2B-E380FFECE4CF}" type="presOf" srcId="{9B931718-FC68-4B2E-9854-492BCFE6FE83}" destId="{700B55C8-272E-490B-AB5F-A5C6369E8C79}" srcOrd="1" destOrd="0" presId="urn:microsoft.com/office/officeart/2005/8/layout/orgChart1"/>
    <dgm:cxn modelId="{EF17C288-FABF-470A-9F6E-6F1AC60C08BE}" srcId="{E420C67E-C4C2-476B-9B47-FFB47D587009}" destId="{0216D3CF-84E5-4443-8082-6C6C297E9A4D}" srcOrd="0" destOrd="0" parTransId="{C3334397-F4C9-43FD-9DE7-786437A51BF8}" sibTransId="{9C27E3D0-AEBB-4C4C-AFEA-8F9AF608B21E}"/>
    <dgm:cxn modelId="{396C4809-E171-4985-A9AA-E4BEED8CFAD3}" type="presOf" srcId="{28774598-E592-4921-B255-0225EB6D096E}" destId="{AD70828E-DDD4-480C-BDFF-1E596F6615D1}" srcOrd="0" destOrd="0" presId="urn:microsoft.com/office/officeart/2005/8/layout/orgChart1"/>
    <dgm:cxn modelId="{484B28BF-22E2-41F2-AD51-784BE4C8EA07}" type="presOf" srcId="{E420C67E-C4C2-476B-9B47-FFB47D587009}" destId="{F0ED6141-24DB-4164-A2D4-B51E750525CD}" srcOrd="0" destOrd="0" presId="urn:microsoft.com/office/officeart/2005/8/layout/orgChart1"/>
    <dgm:cxn modelId="{2AA5CE11-A17E-43BB-A5AE-C86C0BC48807}" type="presOf" srcId="{0216D3CF-84E5-4443-8082-6C6C297E9A4D}" destId="{CBCDE87F-FA6C-44B8-A9C2-1E747BE7F736}" srcOrd="0" destOrd="0" presId="urn:microsoft.com/office/officeart/2005/8/layout/orgChart1"/>
    <dgm:cxn modelId="{CE76847C-F03E-43BE-BA01-C4800E158C35}" type="presOf" srcId="{A60BCA66-49BB-4275-9110-8B471B3FC59B}" destId="{28E82B1A-B1F2-4CC5-9B64-B60015CBF624}" srcOrd="0" destOrd="0" presId="urn:microsoft.com/office/officeart/2005/8/layout/orgChart1"/>
    <dgm:cxn modelId="{C9033B33-CD8D-4EBD-93CE-EBBD3FC69296}" type="presOf" srcId="{7D7C3FA2-CE75-4B7D-A218-416906B8D917}" destId="{A77E27D0-EFD7-495B-9E1A-5A5371B8AB84}" srcOrd="0" destOrd="0" presId="urn:microsoft.com/office/officeart/2005/8/layout/orgChart1"/>
    <dgm:cxn modelId="{C43C6ABF-B888-4B85-BDB8-ECB404E096C8}" type="presOf" srcId="{A240A1E1-162D-4A6E-A806-B6FF45B3AB68}" destId="{20C564F4-BF5C-4321-B86B-65391CEDEFC7}" srcOrd="1" destOrd="0" presId="urn:microsoft.com/office/officeart/2005/8/layout/orgChart1"/>
    <dgm:cxn modelId="{940DACAF-3F0B-49C0-A682-FAE33B6795FD}" type="presOf" srcId="{9B931718-FC68-4B2E-9854-492BCFE6FE83}" destId="{984A4F3B-0A00-4E5A-9092-1922B8A7FAB3}" srcOrd="0" destOrd="0" presId="urn:microsoft.com/office/officeart/2005/8/layout/orgChart1"/>
    <dgm:cxn modelId="{4BE9179E-787C-4079-93B6-44D31A02A180}" type="presOf" srcId="{3EEFE082-C4FA-499A-BA01-E4B8217A4B73}" destId="{A3BC68A0-CABF-4126-884C-C90818E1E26E}" srcOrd="0" destOrd="0" presId="urn:microsoft.com/office/officeart/2005/8/layout/orgChart1"/>
    <dgm:cxn modelId="{4B141AC2-1C54-4E2C-8C34-CF0EFCDC2ED0}" type="presOf" srcId="{E420C67E-C4C2-476B-9B47-FFB47D587009}" destId="{45256018-C335-4CDB-9EC5-7AE2ABAC1E00}" srcOrd="1" destOrd="0" presId="urn:microsoft.com/office/officeart/2005/8/layout/orgChart1"/>
    <dgm:cxn modelId="{A0E66910-A417-4433-846A-E364FADC3533}" srcId="{1CE2D78B-C788-472A-8424-7F9A4AB5205E}" destId="{49742260-F14F-4BCB-8D88-ADD2EB5024EC}" srcOrd="2" destOrd="0" parTransId="{9275B05E-F520-4192-9B33-84AEEBC3F62D}" sibTransId="{BDB94797-518D-4543-8D6F-13596FEC7A22}"/>
    <dgm:cxn modelId="{2C33E632-0316-456E-881A-309DF79BAA6C}" type="presOf" srcId="{43BDC9E6-B3ED-4E11-B81F-A36F96CA06AD}" destId="{1AD90FEA-3135-49C2-A3C0-CFEDDC6405B3}" srcOrd="0" destOrd="0" presId="urn:microsoft.com/office/officeart/2005/8/layout/orgChart1"/>
    <dgm:cxn modelId="{581897DA-4686-4A53-91C4-4D99E1DF069B}" type="presOf" srcId="{49742260-F14F-4BCB-8D88-ADD2EB5024EC}" destId="{93507A0E-B606-4F7A-9C01-283769128FF2}" srcOrd="0" destOrd="0" presId="urn:microsoft.com/office/officeart/2005/8/layout/orgChart1"/>
    <dgm:cxn modelId="{42FEBD8E-098A-4863-92DC-CD990D1E7C57}" type="presOf" srcId="{CFEBB133-5D80-4E9D-815E-BA7E2B5804D2}" destId="{F55C39B9-C17D-4782-B68D-D9F73AAEE095}" srcOrd="1" destOrd="0" presId="urn:microsoft.com/office/officeart/2005/8/layout/orgChart1"/>
    <dgm:cxn modelId="{AB07BD74-D1A3-4876-A459-C485477AA4BE}" type="presOf" srcId="{09967023-FD4B-4E34-A1C9-A393B75E32BA}" destId="{43C79B55-7800-4403-B3B4-49E5363FFF1E}" srcOrd="0" destOrd="0" presId="urn:microsoft.com/office/officeart/2005/8/layout/orgChart1"/>
    <dgm:cxn modelId="{0052A9B9-54C7-4DCA-AF27-CAEE3D892CF9}" type="presOf" srcId="{14236E25-24F5-4DBC-8E23-FED5A30DEF0E}" destId="{A2B3E9C0-0CE1-4B88-9E71-F7CE1A7F99D7}" srcOrd="0" destOrd="0" presId="urn:microsoft.com/office/officeart/2005/8/layout/orgChart1"/>
    <dgm:cxn modelId="{DB925F6A-7761-4D5E-84C9-D63652FE2570}" srcId="{C35FC96E-9015-4790-BDC3-6E0D4D502FCB}" destId="{09967023-FD4B-4E34-A1C9-A393B75E32BA}" srcOrd="2" destOrd="0" parTransId="{28774598-E592-4921-B255-0225EB6D096E}" sibTransId="{0B7B4A03-7BEB-45DD-A62C-7505C5BC4A5B}"/>
    <dgm:cxn modelId="{6379C81D-EF2A-4D84-9D77-D9CEC906E68E}" type="presOf" srcId="{AFCA2418-8D6B-4E9C-BE52-FC74C908050F}" destId="{C553D0C6-AEE4-4F65-8DAC-62449D94D6A7}" srcOrd="1" destOrd="0" presId="urn:microsoft.com/office/officeart/2005/8/layout/orgChart1"/>
    <dgm:cxn modelId="{E17A13C3-9E34-4AB0-980B-FA9D3BBF2C53}" type="presOf" srcId="{6ED4E1AA-EFDD-4E70-836E-3DB36084DE98}" destId="{C137CAE9-66E1-459B-A733-9B53B02E07AF}" srcOrd="0" destOrd="0" presId="urn:microsoft.com/office/officeart/2005/8/layout/orgChart1"/>
    <dgm:cxn modelId="{6092B9A9-66C2-4BD0-8C5C-C63A7763361D}" type="presOf" srcId="{720AE7B9-47AD-4FF9-8447-DF1B8C5FD193}" destId="{1064D61A-5C37-497D-A6F5-6312AB6E3F5A}" srcOrd="0" destOrd="0" presId="urn:microsoft.com/office/officeart/2005/8/layout/orgChart1"/>
    <dgm:cxn modelId="{A700B8BD-C714-4383-B5E4-E1FF9509EBFB}" type="presOf" srcId="{C6E107C8-C87F-4E03-9C51-3B0FC309122B}" destId="{78B1DB83-1FBB-4B72-AADA-6CBB1DAEF356}" srcOrd="0" destOrd="0" presId="urn:microsoft.com/office/officeart/2005/8/layout/orgChart1"/>
    <dgm:cxn modelId="{F0C0AED6-3BFB-430A-84C4-C1842ECA49F1}" srcId="{1CE2D78B-C788-472A-8424-7F9A4AB5205E}" destId="{35016019-1F0E-47A9-A9CB-AE98C0AFCFC1}" srcOrd="1" destOrd="0" parTransId="{A60BCA66-49BB-4275-9110-8B471B3FC59B}" sibTransId="{549EC933-326F-43C6-A4AD-B0C6604A5CF9}"/>
    <dgm:cxn modelId="{E823D6F5-80D1-46FF-A727-68AE79A34FF8}" type="presOf" srcId="{453F9760-1876-428B-8CB6-DA8F60516D89}" destId="{1D4D3FE4-1739-4B3C-ACD2-597D18FBC50F}" srcOrd="0" destOrd="0" presId="urn:microsoft.com/office/officeart/2005/8/layout/orgChart1"/>
    <dgm:cxn modelId="{27C76821-114B-4D33-923F-9CD0B2EDF72D}" type="presOf" srcId="{35016019-1F0E-47A9-A9CB-AE98C0AFCFC1}" destId="{428A54D9-43F6-47B6-B3A2-FDCE09CB5A97}" srcOrd="0" destOrd="0" presId="urn:microsoft.com/office/officeart/2005/8/layout/orgChart1"/>
    <dgm:cxn modelId="{A9D7C1ED-108E-40E9-983B-2A4CAB491186}" type="presOf" srcId="{720AE7B9-47AD-4FF9-8447-DF1B8C5FD193}" destId="{1D0BA542-EABF-46D4-A11D-8954A50A4A27}" srcOrd="1" destOrd="0" presId="urn:microsoft.com/office/officeart/2005/8/layout/orgChart1"/>
    <dgm:cxn modelId="{395630EB-7250-4019-9A8D-294A0676F834}" type="presOf" srcId="{9275B05E-F520-4192-9B33-84AEEBC3F62D}" destId="{11628582-088E-42FA-B6EC-953F652565B0}" srcOrd="0" destOrd="0" presId="urn:microsoft.com/office/officeart/2005/8/layout/orgChart1"/>
    <dgm:cxn modelId="{31678EC9-BC1E-4082-9C49-C32228C236FE}" type="presOf" srcId="{C35FC96E-9015-4790-BDC3-6E0D4D502FCB}" destId="{B2267437-59D9-4F70-9854-AF295901641A}" srcOrd="1" destOrd="0" presId="urn:microsoft.com/office/officeart/2005/8/layout/orgChart1"/>
    <dgm:cxn modelId="{19FAD9B0-DF9E-4A9A-B432-066F51EB7928}" type="presOf" srcId="{843E3B21-DC9F-4CF8-A7F1-93BF704E47A7}" destId="{AB22B6A5-BFAD-4E5F-BED0-C002FA69FEEF}" srcOrd="1" destOrd="0" presId="urn:microsoft.com/office/officeart/2005/8/layout/orgChart1"/>
    <dgm:cxn modelId="{094779F0-367F-4C57-A3AD-613BB08345AD}" type="presOf" srcId="{0216D3CF-84E5-4443-8082-6C6C297E9A4D}" destId="{CF9F174C-7D69-49F6-A7FE-7ED9990EB82A}" srcOrd="1" destOrd="0" presId="urn:microsoft.com/office/officeart/2005/8/layout/orgChart1"/>
    <dgm:cxn modelId="{348BDE4A-FD3F-4D83-AA38-846E0387B3E0}" type="presOf" srcId="{AFCA2418-8D6B-4E9C-BE52-FC74C908050F}" destId="{1B4F947A-69EB-46FF-A1EA-7664283D213E}" srcOrd="0" destOrd="0" presId="urn:microsoft.com/office/officeart/2005/8/layout/orgChart1"/>
    <dgm:cxn modelId="{562996AD-CB0A-4248-B5D4-10D96656F4DB}" type="presOf" srcId="{4E25AF54-5C18-4905-8913-7D1EA2AC6905}" destId="{2BC6CEE4-3F67-4FA6-8639-65EC4CCFF4D9}" srcOrd="0" destOrd="0" presId="urn:microsoft.com/office/officeart/2005/8/layout/orgChart1"/>
    <dgm:cxn modelId="{C159F786-ED38-476E-9CAF-598C4BA6A40C}" srcId="{43BDC9E6-B3ED-4E11-B81F-A36F96CA06AD}" destId="{C35FC96E-9015-4790-BDC3-6E0D4D502FCB}" srcOrd="3" destOrd="0" parTransId="{54165FB5-F7A3-4BBF-B199-2BE2BA410DE8}" sibTransId="{599E3296-C316-405C-B222-CEA737D995B5}"/>
    <dgm:cxn modelId="{696BE673-92EF-4BF5-AB26-911A54E14B62}" type="presOf" srcId="{7D7C3FA2-CE75-4B7D-A218-416906B8D917}" destId="{63F8734B-291F-4EE9-8AEC-5D7130065FE8}" srcOrd="1" destOrd="0" presId="urn:microsoft.com/office/officeart/2005/8/layout/orgChart1"/>
    <dgm:cxn modelId="{1424F152-61B1-44B5-BCB1-575752D8F0C5}" type="presOf" srcId="{A240A1E1-162D-4A6E-A806-B6FF45B3AB68}" destId="{6E033C69-6BA8-4812-AE4E-0022A986E944}" srcOrd="0" destOrd="0" presId="urn:microsoft.com/office/officeart/2005/8/layout/orgChart1"/>
    <dgm:cxn modelId="{398BD67F-3A81-4636-9FF2-C8084F78764C}" type="presOf" srcId="{90833815-F732-45AF-B735-7A208BE16A8A}" destId="{5D0F02D1-4A23-4B53-AF4F-3529BE69829E}" srcOrd="0" destOrd="0" presId="urn:microsoft.com/office/officeart/2005/8/layout/orgChart1"/>
    <dgm:cxn modelId="{D4E6D27E-6206-4107-A25C-E754D29D144A}" type="presOf" srcId="{CFEBB133-5D80-4E9D-815E-BA7E2B5804D2}" destId="{50D60845-A14B-4DD0-8DB4-8B07FEB31A21}" srcOrd="0" destOrd="0" presId="urn:microsoft.com/office/officeart/2005/8/layout/orgChart1"/>
    <dgm:cxn modelId="{6E2E3B55-A6EB-46D7-B7D0-04629FD4C800}" srcId="{843E3B21-DC9F-4CF8-A7F1-93BF704E47A7}" destId="{9B931718-FC68-4B2E-9854-492BCFE6FE83}" srcOrd="2" destOrd="0" parTransId="{359E2506-5D19-4F9C-8688-C666576175A9}" sibTransId="{3113A228-1208-4305-91A0-AEEDFF54B5B2}"/>
    <dgm:cxn modelId="{723DE72C-FB8D-46CC-A055-0CCA2006CA68}" type="presOf" srcId="{35016019-1F0E-47A9-A9CB-AE98C0AFCFC1}" destId="{31DAB6FE-4097-4695-9397-7DCCE262634B}" srcOrd="1" destOrd="0" presId="urn:microsoft.com/office/officeart/2005/8/layout/orgChart1"/>
    <dgm:cxn modelId="{2AC6A1A2-FDAF-4C07-BF93-78DC05214544}" srcId="{43BDC9E6-B3ED-4E11-B81F-A36F96CA06AD}" destId="{E420C67E-C4C2-476B-9B47-FFB47D587009}" srcOrd="1" destOrd="0" parTransId="{65D088B7-B36E-49AA-84B9-2BC51B326EA1}" sibTransId="{7CC715FB-928E-4CFE-A8F5-045F16B2D743}"/>
    <dgm:cxn modelId="{607B6249-D2DF-4F47-A4CE-482A76540E61}" type="presOf" srcId="{843E3B21-DC9F-4CF8-A7F1-93BF704E47A7}" destId="{5E5C4910-D5C2-4117-9825-0F4E2308A1D4}" srcOrd="0" destOrd="0" presId="urn:microsoft.com/office/officeart/2005/8/layout/orgChart1"/>
    <dgm:cxn modelId="{E2D6CB30-8384-47CE-A6AA-81AE3D392A9C}" type="presOf" srcId="{3722DDF4-26E2-4422-A516-DEEAC3ECF65B}" destId="{A83ED5F7-10A0-45C9-B814-5804FA76917E}" srcOrd="0" destOrd="0" presId="urn:microsoft.com/office/officeart/2005/8/layout/orgChart1"/>
    <dgm:cxn modelId="{028656FE-F6AA-4CC3-9E42-C25F71EA63BF}" type="presOf" srcId="{1CE2D78B-C788-472A-8424-7F9A4AB5205E}" destId="{6D7B6648-0B7F-4E1F-B6C5-CE0E2F04B9FF}" srcOrd="1" destOrd="0" presId="urn:microsoft.com/office/officeart/2005/8/layout/orgChart1"/>
    <dgm:cxn modelId="{C7B12242-93F1-42B1-8149-73B2BE7E9DC0}" srcId="{843E3B21-DC9F-4CF8-A7F1-93BF704E47A7}" destId="{720AE7B9-47AD-4FF9-8447-DF1B8C5FD193}" srcOrd="0" destOrd="0" parTransId="{3722DDF4-26E2-4422-A516-DEEAC3ECF65B}" sibTransId="{D7F902F3-F976-415B-98C3-59057320C539}"/>
    <dgm:cxn modelId="{D1FA671A-1CF1-4C45-B999-B0D9B4246ABB}" type="presOf" srcId="{1CE2D78B-C788-472A-8424-7F9A4AB5205E}" destId="{A5F2589C-C16C-45F2-9A3D-F2A6CB2476D1}" srcOrd="0" destOrd="0" presId="urn:microsoft.com/office/officeart/2005/8/layout/orgChart1"/>
    <dgm:cxn modelId="{672B74D7-C408-4A33-9738-7B184A525BC7}" type="presOf" srcId="{A26E1133-27F8-42A1-91FE-23383B9ACC99}" destId="{E9F5810C-05C5-4937-8779-609DD6BD5CFD}" srcOrd="0" destOrd="0" presId="urn:microsoft.com/office/officeart/2005/8/layout/orgChart1"/>
    <dgm:cxn modelId="{7C839A5C-6923-408D-9372-6985160558B4}" type="presOf" srcId="{2F6572D1-3E4E-41CC-B816-15F6AA753750}" destId="{C3C99CCA-0A47-4420-ABC8-53654C0C3796}" srcOrd="1" destOrd="0" presId="urn:microsoft.com/office/officeart/2005/8/layout/orgChart1"/>
    <dgm:cxn modelId="{23EAF889-5064-4BB2-BD65-8805C15B10C9}" type="presOf" srcId="{359E2506-5D19-4F9C-8688-C666576175A9}" destId="{50C84909-550F-4BDC-8966-B86E5E1786AE}" srcOrd="0" destOrd="0" presId="urn:microsoft.com/office/officeart/2005/8/layout/orgChart1"/>
    <dgm:cxn modelId="{EBCC2D9B-3167-49BC-9B26-09C60D880689}" type="presOf" srcId="{65D088B7-B36E-49AA-84B9-2BC51B326EA1}" destId="{96956835-3386-449C-A89B-65F7C680246D}" srcOrd="0" destOrd="0" presId="urn:microsoft.com/office/officeart/2005/8/layout/orgChart1"/>
    <dgm:cxn modelId="{E040E2E2-F016-4F82-9927-EA3D62DA0F57}" srcId="{A26E1133-27F8-42A1-91FE-23383B9ACC99}" destId="{43BDC9E6-B3ED-4E11-B81F-A36F96CA06AD}" srcOrd="0" destOrd="0" parTransId="{818B4425-229C-4D05-BD73-F2583AB7B9C5}" sibTransId="{A3D2AA9D-1D2C-45CA-9A99-0FD9E343747F}"/>
    <dgm:cxn modelId="{0E13E3D5-544D-4DD0-ABC3-B95E95FCDDD7}" type="presOf" srcId="{62301F5E-BDD5-4369-B9CF-5999FECA1C85}" destId="{FE10A4AF-D8A8-4F2D-9661-56E5DBB5B2C5}" srcOrd="0" destOrd="0" presId="urn:microsoft.com/office/officeart/2005/8/layout/orgChart1"/>
    <dgm:cxn modelId="{F4C2B95B-AA05-4F00-8109-785BF9BF08A4}" type="presOf" srcId="{2F6572D1-3E4E-41CC-B816-15F6AA753750}" destId="{7BABB840-5689-4566-85C9-55C4A127C4C6}" srcOrd="0" destOrd="0" presId="urn:microsoft.com/office/officeart/2005/8/layout/orgChart1"/>
    <dgm:cxn modelId="{3C110BFF-FD87-473E-9985-0D9D761E60BD}" srcId="{43BDC9E6-B3ED-4E11-B81F-A36F96CA06AD}" destId="{843E3B21-DC9F-4CF8-A7F1-93BF704E47A7}" srcOrd="0" destOrd="0" parTransId="{3EEFE082-C4FA-499A-BA01-E4B8217A4B73}" sibTransId="{2992CB8F-FBF4-486F-BE86-7AEC96D28238}"/>
    <dgm:cxn modelId="{0D252A7C-EA88-478B-9AB7-96B65AE1E68A}" srcId="{43BDC9E6-B3ED-4E11-B81F-A36F96CA06AD}" destId="{1CE2D78B-C788-472A-8424-7F9A4AB5205E}" srcOrd="2" destOrd="0" parTransId="{6ED4E1AA-EFDD-4E70-836E-3DB36084DE98}" sibTransId="{1D0F051B-C9A8-457A-BE08-985EF4C28172}"/>
    <dgm:cxn modelId="{CCB5AE26-70F4-4C5B-B53D-136E39A12AC5}" srcId="{1CE2D78B-C788-472A-8424-7F9A4AB5205E}" destId="{A240A1E1-162D-4A6E-A806-B6FF45B3AB68}" srcOrd="0" destOrd="0" parTransId="{F0BD47AB-7AC9-40A2-A96D-1A911EFDE7FF}" sibTransId="{A12D77FB-8453-4F78-A007-65AD68966259}"/>
    <dgm:cxn modelId="{6F886B17-5C4D-40E3-8DB6-AA5F7222C979}" type="presOf" srcId="{6C5C9B86-7AAA-465B-98FF-E3F38189A3AE}" destId="{3A94D9E8-C2A3-4765-9477-D710CC646957}" srcOrd="0" destOrd="0" presId="urn:microsoft.com/office/officeart/2005/8/layout/orgChart1"/>
    <dgm:cxn modelId="{CCD35C7B-C3A7-4905-A4BF-A12E688E146B}" type="presOf" srcId="{F0BD47AB-7AC9-40A2-A96D-1A911EFDE7FF}" destId="{AEDC7120-FE6F-49D8-95F2-AB1B2B6AC9A8}" srcOrd="0" destOrd="0" presId="urn:microsoft.com/office/officeart/2005/8/layout/orgChart1"/>
    <dgm:cxn modelId="{5F25A060-9BA2-43A2-ADE6-43CFAF44E779}" type="presOf" srcId="{C3334397-F4C9-43FD-9DE7-786437A51BF8}" destId="{CC07306D-4BD7-4477-BB61-A954489058D6}" srcOrd="0" destOrd="0" presId="urn:microsoft.com/office/officeart/2005/8/layout/orgChart1"/>
    <dgm:cxn modelId="{7E8A394C-0B32-41E9-BC7B-038412EB61D4}" srcId="{E420C67E-C4C2-476B-9B47-FFB47D587009}" destId="{CFEBB133-5D80-4E9D-815E-BA7E2B5804D2}" srcOrd="3" destOrd="0" parTransId="{6C5C9B86-7AAA-465B-98FF-E3F38189A3AE}" sibTransId="{7FDECB7D-540F-4AC8-A911-0EDE43878630}"/>
    <dgm:cxn modelId="{4124C095-9524-4CA2-8C3A-EF90FE3CE2F6}" type="presOf" srcId="{54165FB5-F7A3-4BBF-B199-2BE2BA410DE8}" destId="{B562ECC0-9994-4B01-9E77-D5C13C496118}" srcOrd="0" destOrd="0" presId="urn:microsoft.com/office/officeart/2005/8/layout/orgChart1"/>
    <dgm:cxn modelId="{08D36711-3918-430D-8851-6B66F2BF9747}" type="presOf" srcId="{C35FC96E-9015-4790-BDC3-6E0D4D502FCB}" destId="{67A44139-B3F0-4118-89E8-A44A0D503C36}" srcOrd="0" destOrd="0" presId="urn:microsoft.com/office/officeart/2005/8/layout/orgChart1"/>
    <dgm:cxn modelId="{43F34B94-4124-4429-8FE8-54C3E146F174}" type="presOf" srcId="{C6E107C8-C87F-4E03-9C51-3B0FC309122B}" destId="{BB23809A-293F-4A54-B283-6C2D984F118D}" srcOrd="1" destOrd="0" presId="urn:microsoft.com/office/officeart/2005/8/layout/orgChart1"/>
    <dgm:cxn modelId="{4DA08DA5-42CE-4EC3-ABE7-E12823954F1B}" type="presOf" srcId="{90833815-F732-45AF-B735-7A208BE16A8A}" destId="{8FF15CAA-9BF1-4437-B877-2B6831555847}" srcOrd="1" destOrd="0" presId="urn:microsoft.com/office/officeart/2005/8/layout/orgChart1"/>
    <dgm:cxn modelId="{2526CAEF-6FB4-4840-A2BE-2CBD2C7C093D}" type="presOf" srcId="{645C00E4-762B-4277-AD48-4328B4AF7430}" destId="{981682D2-6375-4500-994F-C7CC83594561}" srcOrd="0" destOrd="0" presId="urn:microsoft.com/office/officeart/2005/8/layout/orgChart1"/>
    <dgm:cxn modelId="{8DD113F3-830A-4EBC-8861-46FBFA822809}" type="presOf" srcId="{43BDC9E6-B3ED-4E11-B81F-A36F96CA06AD}" destId="{6EF86BC6-06CE-4768-9942-F4420543D5EE}" srcOrd="1" destOrd="0" presId="urn:microsoft.com/office/officeart/2005/8/layout/orgChart1"/>
    <dgm:cxn modelId="{816BFCC7-0C0A-45ED-9659-6B51BCE89851}" type="presOf" srcId="{09967023-FD4B-4E34-A1C9-A393B75E32BA}" destId="{FD009694-C9A9-4545-B9B4-AE343C4C6314}" srcOrd="1" destOrd="0" presId="urn:microsoft.com/office/officeart/2005/8/layout/orgChart1"/>
    <dgm:cxn modelId="{D70131AB-0C84-4537-8DBD-5E846BA5CA14}" type="presOf" srcId="{49742260-F14F-4BCB-8D88-ADD2EB5024EC}" destId="{FA7ED8CE-14CF-4D38-BE63-D19E93618025}" srcOrd="1" destOrd="0" presId="urn:microsoft.com/office/officeart/2005/8/layout/orgChart1"/>
    <dgm:cxn modelId="{A630084D-67F8-48A7-9951-F46F3604D1B4}" srcId="{E420C67E-C4C2-476B-9B47-FFB47D587009}" destId="{90833815-F732-45AF-B735-7A208BE16A8A}" srcOrd="1" destOrd="0" parTransId="{62301F5E-BDD5-4369-B9CF-5999FECA1C85}" sibTransId="{7A88FAF5-FAAB-4848-B347-2B42AF8023FF}"/>
    <dgm:cxn modelId="{482DB792-4616-4429-8146-834A4E403FCA}" srcId="{C35FC96E-9015-4790-BDC3-6E0D4D502FCB}" destId="{AFCA2418-8D6B-4E9C-BE52-FC74C908050F}" srcOrd="0" destOrd="0" parTransId="{4E25AF54-5C18-4905-8913-7D1EA2AC6905}" sibTransId="{2863A287-FD1D-46AB-958E-D6DB7D840902}"/>
    <dgm:cxn modelId="{123E4B07-F729-4A47-9708-CB0CEB8711EB}" type="presParOf" srcId="{E9F5810C-05C5-4937-8779-609DD6BD5CFD}" destId="{25A00B3E-FEA8-439F-999E-8DB6BC95DBC0}" srcOrd="0" destOrd="0" presId="urn:microsoft.com/office/officeart/2005/8/layout/orgChart1"/>
    <dgm:cxn modelId="{AB8ED4B1-CDCC-40F7-BDAC-4EE13C8C1E85}" type="presParOf" srcId="{25A00B3E-FEA8-439F-999E-8DB6BC95DBC0}" destId="{305CB9B7-E4C6-453D-AC39-1DA3FA25C576}" srcOrd="0" destOrd="0" presId="urn:microsoft.com/office/officeart/2005/8/layout/orgChart1"/>
    <dgm:cxn modelId="{FB9FDB5A-954E-4EE1-883C-CFE4FC90DBD8}" type="presParOf" srcId="{305CB9B7-E4C6-453D-AC39-1DA3FA25C576}" destId="{1AD90FEA-3135-49C2-A3C0-CFEDDC6405B3}" srcOrd="0" destOrd="0" presId="urn:microsoft.com/office/officeart/2005/8/layout/orgChart1"/>
    <dgm:cxn modelId="{9780471A-DC66-4758-BC9B-6D920804302A}" type="presParOf" srcId="{305CB9B7-E4C6-453D-AC39-1DA3FA25C576}" destId="{6EF86BC6-06CE-4768-9942-F4420543D5EE}" srcOrd="1" destOrd="0" presId="urn:microsoft.com/office/officeart/2005/8/layout/orgChart1"/>
    <dgm:cxn modelId="{4CA7C859-B180-462C-8988-ABD208797A98}" type="presParOf" srcId="{25A00B3E-FEA8-439F-999E-8DB6BC95DBC0}" destId="{EC72B6B4-B63E-4FE2-8CC2-5FA221770366}" srcOrd="1" destOrd="0" presId="urn:microsoft.com/office/officeart/2005/8/layout/orgChart1"/>
    <dgm:cxn modelId="{5313CF6E-A13F-4117-8AA9-92B39F0AE7B4}" type="presParOf" srcId="{EC72B6B4-B63E-4FE2-8CC2-5FA221770366}" destId="{A3BC68A0-CABF-4126-884C-C90818E1E26E}" srcOrd="0" destOrd="0" presId="urn:microsoft.com/office/officeart/2005/8/layout/orgChart1"/>
    <dgm:cxn modelId="{DBD3FCB5-0C3F-4B42-A41B-9240485AFD00}" type="presParOf" srcId="{EC72B6B4-B63E-4FE2-8CC2-5FA221770366}" destId="{9B84C5AA-6259-445A-8F7A-6D366FCBB4AD}" srcOrd="1" destOrd="0" presId="urn:microsoft.com/office/officeart/2005/8/layout/orgChart1"/>
    <dgm:cxn modelId="{333FF687-81A6-4698-BCB3-4B4FD7917C8A}" type="presParOf" srcId="{9B84C5AA-6259-445A-8F7A-6D366FCBB4AD}" destId="{F324FB99-E565-440D-9319-A2867DA87756}" srcOrd="0" destOrd="0" presId="urn:microsoft.com/office/officeart/2005/8/layout/orgChart1"/>
    <dgm:cxn modelId="{0913760E-E696-4F76-8AFC-AAD4C0DF2226}" type="presParOf" srcId="{F324FB99-E565-440D-9319-A2867DA87756}" destId="{5E5C4910-D5C2-4117-9825-0F4E2308A1D4}" srcOrd="0" destOrd="0" presId="urn:microsoft.com/office/officeart/2005/8/layout/orgChart1"/>
    <dgm:cxn modelId="{D231F52D-0ACA-42FF-9DE8-D2B9CEDB1A5C}" type="presParOf" srcId="{F324FB99-E565-440D-9319-A2867DA87756}" destId="{AB22B6A5-BFAD-4E5F-BED0-C002FA69FEEF}" srcOrd="1" destOrd="0" presId="urn:microsoft.com/office/officeart/2005/8/layout/orgChart1"/>
    <dgm:cxn modelId="{17BB7950-8D17-4D40-8706-509CC74B90E7}" type="presParOf" srcId="{9B84C5AA-6259-445A-8F7A-6D366FCBB4AD}" destId="{16186025-4BC6-46E2-97F6-F9084F02632D}" srcOrd="1" destOrd="0" presId="urn:microsoft.com/office/officeart/2005/8/layout/orgChart1"/>
    <dgm:cxn modelId="{693A13D6-1AF6-40B1-B74F-CE0308D85075}" type="presParOf" srcId="{16186025-4BC6-46E2-97F6-F9084F02632D}" destId="{A83ED5F7-10A0-45C9-B814-5804FA76917E}" srcOrd="0" destOrd="0" presId="urn:microsoft.com/office/officeart/2005/8/layout/orgChart1"/>
    <dgm:cxn modelId="{25EF2B30-DF41-4959-A4D7-53562EC6B43B}" type="presParOf" srcId="{16186025-4BC6-46E2-97F6-F9084F02632D}" destId="{D44CFE56-6231-4D51-BDF4-F9842887D455}" srcOrd="1" destOrd="0" presId="urn:microsoft.com/office/officeart/2005/8/layout/orgChart1"/>
    <dgm:cxn modelId="{A32EB740-A074-44AC-A370-9ECAD7E1E974}" type="presParOf" srcId="{D44CFE56-6231-4D51-BDF4-F9842887D455}" destId="{F340CB26-8421-44AC-9592-9BB7E87D96B8}" srcOrd="0" destOrd="0" presId="urn:microsoft.com/office/officeart/2005/8/layout/orgChart1"/>
    <dgm:cxn modelId="{39B86664-5FBD-463D-AB1A-15ADC9A6BCA2}" type="presParOf" srcId="{F340CB26-8421-44AC-9592-9BB7E87D96B8}" destId="{1064D61A-5C37-497D-A6F5-6312AB6E3F5A}" srcOrd="0" destOrd="0" presId="urn:microsoft.com/office/officeart/2005/8/layout/orgChart1"/>
    <dgm:cxn modelId="{590033F0-DE2A-426B-8016-9F887FAC55BD}" type="presParOf" srcId="{F340CB26-8421-44AC-9592-9BB7E87D96B8}" destId="{1D0BA542-EABF-46D4-A11D-8954A50A4A27}" srcOrd="1" destOrd="0" presId="urn:microsoft.com/office/officeart/2005/8/layout/orgChart1"/>
    <dgm:cxn modelId="{F59757BA-7599-44F9-B37C-83542900E3E2}" type="presParOf" srcId="{D44CFE56-6231-4D51-BDF4-F9842887D455}" destId="{CB5479DD-BB83-4A7F-A8FE-0204BBEBDE57}" srcOrd="1" destOrd="0" presId="urn:microsoft.com/office/officeart/2005/8/layout/orgChart1"/>
    <dgm:cxn modelId="{A86C4E3E-E86C-4E81-B11B-6F348977FFCE}" type="presParOf" srcId="{D44CFE56-6231-4D51-BDF4-F9842887D455}" destId="{72F3B94E-5E2C-4DF9-BCD5-3D635951032C}" srcOrd="2" destOrd="0" presId="urn:microsoft.com/office/officeart/2005/8/layout/orgChart1"/>
    <dgm:cxn modelId="{9EA08F54-B071-4120-9938-0EB805EC4596}" type="presParOf" srcId="{16186025-4BC6-46E2-97F6-F9084F02632D}" destId="{A2B3E9C0-0CE1-4B88-9E71-F7CE1A7F99D7}" srcOrd="2" destOrd="0" presId="urn:microsoft.com/office/officeart/2005/8/layout/orgChart1"/>
    <dgm:cxn modelId="{F247CA80-9CB9-46E7-9BF9-DA68D0D3EE06}" type="presParOf" srcId="{16186025-4BC6-46E2-97F6-F9084F02632D}" destId="{16797127-63BB-4E8C-8005-5E72B3FF9B3C}" srcOrd="3" destOrd="0" presId="urn:microsoft.com/office/officeart/2005/8/layout/orgChart1"/>
    <dgm:cxn modelId="{7CCB5179-40ED-4A3E-A508-D96C724D8065}" type="presParOf" srcId="{16797127-63BB-4E8C-8005-5E72B3FF9B3C}" destId="{4DFEF789-40AF-4966-81EA-F7C1CBE52773}" srcOrd="0" destOrd="0" presId="urn:microsoft.com/office/officeart/2005/8/layout/orgChart1"/>
    <dgm:cxn modelId="{29AB8648-1304-4885-AF33-55EEE382DA36}" type="presParOf" srcId="{4DFEF789-40AF-4966-81EA-F7C1CBE52773}" destId="{A77E27D0-EFD7-495B-9E1A-5A5371B8AB84}" srcOrd="0" destOrd="0" presId="urn:microsoft.com/office/officeart/2005/8/layout/orgChart1"/>
    <dgm:cxn modelId="{66DBF0AA-7CA8-4BFD-B89F-570CE655A980}" type="presParOf" srcId="{4DFEF789-40AF-4966-81EA-F7C1CBE52773}" destId="{63F8734B-291F-4EE9-8AEC-5D7130065FE8}" srcOrd="1" destOrd="0" presId="urn:microsoft.com/office/officeart/2005/8/layout/orgChart1"/>
    <dgm:cxn modelId="{1DC3F25A-19FC-4CE2-9C12-4A61B1DEBB8F}" type="presParOf" srcId="{16797127-63BB-4E8C-8005-5E72B3FF9B3C}" destId="{F1241E53-1837-4666-9A60-B6AD42958195}" srcOrd="1" destOrd="0" presId="urn:microsoft.com/office/officeart/2005/8/layout/orgChart1"/>
    <dgm:cxn modelId="{27BC3F27-14A9-48C8-A819-10A2926E68B4}" type="presParOf" srcId="{16797127-63BB-4E8C-8005-5E72B3FF9B3C}" destId="{E1079AD2-0C8E-44F0-9596-6D504E6161CE}" srcOrd="2" destOrd="0" presId="urn:microsoft.com/office/officeart/2005/8/layout/orgChart1"/>
    <dgm:cxn modelId="{E6342EA7-7EB2-483C-AF8D-4920567CB295}" type="presParOf" srcId="{16186025-4BC6-46E2-97F6-F9084F02632D}" destId="{50C84909-550F-4BDC-8966-B86E5E1786AE}" srcOrd="4" destOrd="0" presId="urn:microsoft.com/office/officeart/2005/8/layout/orgChart1"/>
    <dgm:cxn modelId="{E1323686-2E4D-493F-BB1E-0A2058C18C59}" type="presParOf" srcId="{16186025-4BC6-46E2-97F6-F9084F02632D}" destId="{EBCAC25B-3E97-4708-AA7E-0D44E4C06B2C}" srcOrd="5" destOrd="0" presId="urn:microsoft.com/office/officeart/2005/8/layout/orgChart1"/>
    <dgm:cxn modelId="{F2F41D8D-4A28-423D-9B61-B24D8E8BB72A}" type="presParOf" srcId="{EBCAC25B-3E97-4708-AA7E-0D44E4C06B2C}" destId="{56A22D43-7DD1-46E6-B06A-D1D662EE6DAD}" srcOrd="0" destOrd="0" presId="urn:microsoft.com/office/officeart/2005/8/layout/orgChart1"/>
    <dgm:cxn modelId="{582A139B-056C-4FA1-BF05-01CC831FEB5D}" type="presParOf" srcId="{56A22D43-7DD1-46E6-B06A-D1D662EE6DAD}" destId="{984A4F3B-0A00-4E5A-9092-1922B8A7FAB3}" srcOrd="0" destOrd="0" presId="urn:microsoft.com/office/officeart/2005/8/layout/orgChart1"/>
    <dgm:cxn modelId="{E73462AF-DD37-4C01-B840-A1067ADAEF38}" type="presParOf" srcId="{56A22D43-7DD1-46E6-B06A-D1D662EE6DAD}" destId="{700B55C8-272E-490B-AB5F-A5C6369E8C79}" srcOrd="1" destOrd="0" presId="urn:microsoft.com/office/officeart/2005/8/layout/orgChart1"/>
    <dgm:cxn modelId="{FCFD2BD9-3DF8-4F2E-87E3-149D85D9D63E}" type="presParOf" srcId="{EBCAC25B-3E97-4708-AA7E-0D44E4C06B2C}" destId="{18D6C1B6-F902-4ABE-BB60-086B907C1C3A}" srcOrd="1" destOrd="0" presId="urn:microsoft.com/office/officeart/2005/8/layout/orgChart1"/>
    <dgm:cxn modelId="{E438EBFC-F113-4BEB-8F82-EA2CE97C2B01}" type="presParOf" srcId="{EBCAC25B-3E97-4708-AA7E-0D44E4C06B2C}" destId="{4E3F742A-A2F5-4971-A026-90DA3CFE956C}" srcOrd="2" destOrd="0" presId="urn:microsoft.com/office/officeart/2005/8/layout/orgChart1"/>
    <dgm:cxn modelId="{1EBC9E60-E44B-468D-98EE-AC91975C998B}" type="presParOf" srcId="{9B84C5AA-6259-445A-8F7A-6D366FCBB4AD}" destId="{82355405-192E-42E7-B905-7A6FE845C6D9}" srcOrd="2" destOrd="0" presId="urn:microsoft.com/office/officeart/2005/8/layout/orgChart1"/>
    <dgm:cxn modelId="{465A5B60-0154-414C-BCD0-5C13032A7B40}" type="presParOf" srcId="{EC72B6B4-B63E-4FE2-8CC2-5FA221770366}" destId="{96956835-3386-449C-A89B-65F7C680246D}" srcOrd="2" destOrd="0" presId="urn:microsoft.com/office/officeart/2005/8/layout/orgChart1"/>
    <dgm:cxn modelId="{1F041D73-3765-4654-8D4D-D16AD092381D}" type="presParOf" srcId="{EC72B6B4-B63E-4FE2-8CC2-5FA221770366}" destId="{DBD72DFC-EF80-4973-B6E5-D3C9AB052F9E}" srcOrd="3" destOrd="0" presId="urn:microsoft.com/office/officeart/2005/8/layout/orgChart1"/>
    <dgm:cxn modelId="{B21DD487-00C4-4CF8-B673-95B2976498B2}" type="presParOf" srcId="{DBD72DFC-EF80-4973-B6E5-D3C9AB052F9E}" destId="{72B31F8C-4060-4D82-8D0A-8A332812C464}" srcOrd="0" destOrd="0" presId="urn:microsoft.com/office/officeart/2005/8/layout/orgChart1"/>
    <dgm:cxn modelId="{3B923C1E-1A5E-4813-89D8-C9B0AE58867D}" type="presParOf" srcId="{72B31F8C-4060-4D82-8D0A-8A332812C464}" destId="{F0ED6141-24DB-4164-A2D4-B51E750525CD}" srcOrd="0" destOrd="0" presId="urn:microsoft.com/office/officeart/2005/8/layout/orgChart1"/>
    <dgm:cxn modelId="{9E2B3BA8-F9C5-4CC6-A421-E37548D89D5D}" type="presParOf" srcId="{72B31F8C-4060-4D82-8D0A-8A332812C464}" destId="{45256018-C335-4CDB-9EC5-7AE2ABAC1E00}" srcOrd="1" destOrd="0" presId="urn:microsoft.com/office/officeart/2005/8/layout/orgChart1"/>
    <dgm:cxn modelId="{2F3B8482-D1BA-4283-BB2C-AFE81A5D24EF}" type="presParOf" srcId="{DBD72DFC-EF80-4973-B6E5-D3C9AB052F9E}" destId="{2A7D3334-4741-4667-BCDB-1A78491B4FD4}" srcOrd="1" destOrd="0" presId="urn:microsoft.com/office/officeart/2005/8/layout/orgChart1"/>
    <dgm:cxn modelId="{850676E7-FD3A-4F64-947C-0CD8D2C717C4}" type="presParOf" srcId="{2A7D3334-4741-4667-BCDB-1A78491B4FD4}" destId="{CC07306D-4BD7-4477-BB61-A954489058D6}" srcOrd="0" destOrd="0" presId="urn:microsoft.com/office/officeart/2005/8/layout/orgChart1"/>
    <dgm:cxn modelId="{3DAF8DE7-1B8A-4FAE-939D-155017995C85}" type="presParOf" srcId="{2A7D3334-4741-4667-BCDB-1A78491B4FD4}" destId="{0ECB6EE9-64D7-46FB-8A0A-B83CD370F0B4}" srcOrd="1" destOrd="0" presId="urn:microsoft.com/office/officeart/2005/8/layout/orgChart1"/>
    <dgm:cxn modelId="{2B21110B-3A24-40B2-9233-AD3E2B263532}" type="presParOf" srcId="{0ECB6EE9-64D7-46FB-8A0A-B83CD370F0B4}" destId="{9D96850F-E3A0-4435-B942-5F48B18AC5F4}" srcOrd="0" destOrd="0" presId="urn:microsoft.com/office/officeart/2005/8/layout/orgChart1"/>
    <dgm:cxn modelId="{C87E6DA5-3657-4678-AAA8-B854F9DF862B}" type="presParOf" srcId="{9D96850F-E3A0-4435-B942-5F48B18AC5F4}" destId="{CBCDE87F-FA6C-44B8-A9C2-1E747BE7F736}" srcOrd="0" destOrd="0" presId="urn:microsoft.com/office/officeart/2005/8/layout/orgChart1"/>
    <dgm:cxn modelId="{6CC15527-9F14-4781-A5CC-FF7ADF80F79F}" type="presParOf" srcId="{9D96850F-E3A0-4435-B942-5F48B18AC5F4}" destId="{CF9F174C-7D69-49F6-A7FE-7ED9990EB82A}" srcOrd="1" destOrd="0" presId="urn:microsoft.com/office/officeart/2005/8/layout/orgChart1"/>
    <dgm:cxn modelId="{AEF48AF8-7994-4659-AB40-F54D5A3AD94B}" type="presParOf" srcId="{0ECB6EE9-64D7-46FB-8A0A-B83CD370F0B4}" destId="{1934090D-CBAE-4AB8-9BE7-C9762145998D}" srcOrd="1" destOrd="0" presId="urn:microsoft.com/office/officeart/2005/8/layout/orgChart1"/>
    <dgm:cxn modelId="{12ADFF4F-FE73-43F1-BD6B-CAC3AEF6E566}" type="presParOf" srcId="{0ECB6EE9-64D7-46FB-8A0A-B83CD370F0B4}" destId="{7BCCCAFF-8404-460B-9A5A-B8BF91057993}" srcOrd="2" destOrd="0" presId="urn:microsoft.com/office/officeart/2005/8/layout/orgChart1"/>
    <dgm:cxn modelId="{BC4A7AB3-0205-41ED-88C2-C270D0215FB2}" type="presParOf" srcId="{2A7D3334-4741-4667-BCDB-1A78491B4FD4}" destId="{FE10A4AF-D8A8-4F2D-9661-56E5DBB5B2C5}" srcOrd="2" destOrd="0" presId="urn:microsoft.com/office/officeart/2005/8/layout/orgChart1"/>
    <dgm:cxn modelId="{503FFE3C-08D3-464F-8571-C6774CEDB490}" type="presParOf" srcId="{2A7D3334-4741-4667-BCDB-1A78491B4FD4}" destId="{6E36B90A-357D-4409-934D-6F40EC568AE0}" srcOrd="3" destOrd="0" presId="urn:microsoft.com/office/officeart/2005/8/layout/orgChart1"/>
    <dgm:cxn modelId="{DEA7CFFD-94A0-4EE5-8C74-FB1C678AEE8B}" type="presParOf" srcId="{6E36B90A-357D-4409-934D-6F40EC568AE0}" destId="{AB55976F-0A75-48BF-8621-9232364F260E}" srcOrd="0" destOrd="0" presId="urn:microsoft.com/office/officeart/2005/8/layout/orgChart1"/>
    <dgm:cxn modelId="{4AE39B40-5709-4DCE-99BA-1DF7571B1C5B}" type="presParOf" srcId="{AB55976F-0A75-48BF-8621-9232364F260E}" destId="{5D0F02D1-4A23-4B53-AF4F-3529BE69829E}" srcOrd="0" destOrd="0" presId="urn:microsoft.com/office/officeart/2005/8/layout/orgChart1"/>
    <dgm:cxn modelId="{6DAD2750-99DE-45F0-B570-8675EF059800}" type="presParOf" srcId="{AB55976F-0A75-48BF-8621-9232364F260E}" destId="{8FF15CAA-9BF1-4437-B877-2B6831555847}" srcOrd="1" destOrd="0" presId="urn:microsoft.com/office/officeart/2005/8/layout/orgChart1"/>
    <dgm:cxn modelId="{6C92B483-97F7-42C6-B72B-4B6FCC1B6CCD}" type="presParOf" srcId="{6E36B90A-357D-4409-934D-6F40EC568AE0}" destId="{8EE5665B-F21D-4DA6-A444-6C77DD3C6F95}" srcOrd="1" destOrd="0" presId="urn:microsoft.com/office/officeart/2005/8/layout/orgChart1"/>
    <dgm:cxn modelId="{0183CD83-8551-438A-B6C8-D88C546946D7}" type="presParOf" srcId="{6E36B90A-357D-4409-934D-6F40EC568AE0}" destId="{F1F43870-C4AC-4AF4-AB05-6A054FC06D63}" srcOrd="2" destOrd="0" presId="urn:microsoft.com/office/officeart/2005/8/layout/orgChart1"/>
    <dgm:cxn modelId="{4BD35AF1-596B-41D8-930C-908D43C92170}" type="presParOf" srcId="{2A7D3334-4741-4667-BCDB-1A78491B4FD4}" destId="{1D4D3FE4-1739-4B3C-ACD2-597D18FBC50F}" srcOrd="4" destOrd="0" presId="urn:microsoft.com/office/officeart/2005/8/layout/orgChart1"/>
    <dgm:cxn modelId="{DC7D2A4D-8C6D-44C6-BD89-5247DD2245D2}" type="presParOf" srcId="{2A7D3334-4741-4667-BCDB-1A78491B4FD4}" destId="{9115B6B6-EA79-4FE0-843B-D82CDE234246}" srcOrd="5" destOrd="0" presId="urn:microsoft.com/office/officeart/2005/8/layout/orgChart1"/>
    <dgm:cxn modelId="{C4B7545B-915E-4C1B-8A90-3AE5B8BD79C8}" type="presParOf" srcId="{9115B6B6-EA79-4FE0-843B-D82CDE234246}" destId="{B54B6D9A-0CB7-42FF-A0FD-F2137F2080D7}" srcOrd="0" destOrd="0" presId="urn:microsoft.com/office/officeart/2005/8/layout/orgChart1"/>
    <dgm:cxn modelId="{4F1194FF-975B-4135-932E-9FB8DC7BFA58}" type="presParOf" srcId="{B54B6D9A-0CB7-42FF-A0FD-F2137F2080D7}" destId="{7BABB840-5689-4566-85C9-55C4A127C4C6}" srcOrd="0" destOrd="0" presId="urn:microsoft.com/office/officeart/2005/8/layout/orgChart1"/>
    <dgm:cxn modelId="{A42DBB46-1ECC-4988-9AC4-0156F0D4ADE9}" type="presParOf" srcId="{B54B6D9A-0CB7-42FF-A0FD-F2137F2080D7}" destId="{C3C99CCA-0A47-4420-ABC8-53654C0C3796}" srcOrd="1" destOrd="0" presId="urn:microsoft.com/office/officeart/2005/8/layout/orgChart1"/>
    <dgm:cxn modelId="{6DCB48B1-52A2-4576-83B8-30C4F639BF75}" type="presParOf" srcId="{9115B6B6-EA79-4FE0-843B-D82CDE234246}" destId="{0D889D42-77FB-49A7-B6E8-3A8C670AFEAD}" srcOrd="1" destOrd="0" presId="urn:microsoft.com/office/officeart/2005/8/layout/orgChart1"/>
    <dgm:cxn modelId="{A1AC29B1-5FFD-449D-BB74-CAD062D3B76D}" type="presParOf" srcId="{9115B6B6-EA79-4FE0-843B-D82CDE234246}" destId="{6BE4F57E-EC21-4523-B1EB-3AEDD24C4D44}" srcOrd="2" destOrd="0" presId="urn:microsoft.com/office/officeart/2005/8/layout/orgChart1"/>
    <dgm:cxn modelId="{828E63A1-AA3D-460F-B73B-438F4C21A046}" type="presParOf" srcId="{2A7D3334-4741-4667-BCDB-1A78491B4FD4}" destId="{3A94D9E8-C2A3-4765-9477-D710CC646957}" srcOrd="6" destOrd="0" presId="urn:microsoft.com/office/officeart/2005/8/layout/orgChart1"/>
    <dgm:cxn modelId="{C616BEC3-05C2-49B1-93E5-3D15354120F7}" type="presParOf" srcId="{2A7D3334-4741-4667-BCDB-1A78491B4FD4}" destId="{2EAD44A1-134B-439B-87EC-257234921AE5}" srcOrd="7" destOrd="0" presId="urn:microsoft.com/office/officeart/2005/8/layout/orgChart1"/>
    <dgm:cxn modelId="{79F9CB30-5423-4AD2-B62F-2245EEEC17CC}" type="presParOf" srcId="{2EAD44A1-134B-439B-87EC-257234921AE5}" destId="{2FB73BF3-3C5D-4AD3-9D1C-8A589100FCB7}" srcOrd="0" destOrd="0" presId="urn:microsoft.com/office/officeart/2005/8/layout/orgChart1"/>
    <dgm:cxn modelId="{4CF87FF5-6858-408A-BD0B-BBD35601360F}" type="presParOf" srcId="{2FB73BF3-3C5D-4AD3-9D1C-8A589100FCB7}" destId="{50D60845-A14B-4DD0-8DB4-8B07FEB31A21}" srcOrd="0" destOrd="0" presId="urn:microsoft.com/office/officeart/2005/8/layout/orgChart1"/>
    <dgm:cxn modelId="{148C555D-C1E1-45A8-AA73-63C3B401C9C8}" type="presParOf" srcId="{2FB73BF3-3C5D-4AD3-9D1C-8A589100FCB7}" destId="{F55C39B9-C17D-4782-B68D-D9F73AAEE095}" srcOrd="1" destOrd="0" presId="urn:microsoft.com/office/officeart/2005/8/layout/orgChart1"/>
    <dgm:cxn modelId="{5AF2122D-147D-4DD7-96BD-B4C675B4E782}" type="presParOf" srcId="{2EAD44A1-134B-439B-87EC-257234921AE5}" destId="{FE161E8F-9C2C-4330-91D6-9E6A7C6F19FB}" srcOrd="1" destOrd="0" presId="urn:microsoft.com/office/officeart/2005/8/layout/orgChart1"/>
    <dgm:cxn modelId="{ED04A043-7402-42AE-A744-4ABC6729A8CA}" type="presParOf" srcId="{2EAD44A1-134B-439B-87EC-257234921AE5}" destId="{DCFA5C64-38E4-453B-BB1F-AE8ADB7F8B50}" srcOrd="2" destOrd="0" presId="urn:microsoft.com/office/officeart/2005/8/layout/orgChart1"/>
    <dgm:cxn modelId="{7282767B-9DDF-45F1-9EB0-85C5D4BFBC1E}" type="presParOf" srcId="{DBD72DFC-EF80-4973-B6E5-D3C9AB052F9E}" destId="{1DBB8D6B-1EA9-448A-B87B-A162873E7B21}" srcOrd="2" destOrd="0" presId="urn:microsoft.com/office/officeart/2005/8/layout/orgChart1"/>
    <dgm:cxn modelId="{2DDB508B-32D9-466B-897B-4930177E8F21}" type="presParOf" srcId="{EC72B6B4-B63E-4FE2-8CC2-5FA221770366}" destId="{C137CAE9-66E1-459B-A733-9B53B02E07AF}" srcOrd="4" destOrd="0" presId="urn:microsoft.com/office/officeart/2005/8/layout/orgChart1"/>
    <dgm:cxn modelId="{DFD3C8B6-1061-47C4-8843-345BCDCE0AAD}" type="presParOf" srcId="{EC72B6B4-B63E-4FE2-8CC2-5FA221770366}" destId="{35CBA655-D40F-4A2B-B71A-711D392B5A84}" srcOrd="5" destOrd="0" presId="urn:microsoft.com/office/officeart/2005/8/layout/orgChart1"/>
    <dgm:cxn modelId="{FBCAA730-8D20-424D-8F00-8DE89A7568CC}" type="presParOf" srcId="{35CBA655-D40F-4A2B-B71A-711D392B5A84}" destId="{9DC86AED-B6DB-4100-9EA0-4E60FFB4A367}" srcOrd="0" destOrd="0" presId="urn:microsoft.com/office/officeart/2005/8/layout/orgChart1"/>
    <dgm:cxn modelId="{E68C84A6-6FD5-4EB9-9BA8-2AD86C6E3622}" type="presParOf" srcId="{9DC86AED-B6DB-4100-9EA0-4E60FFB4A367}" destId="{A5F2589C-C16C-45F2-9A3D-F2A6CB2476D1}" srcOrd="0" destOrd="0" presId="urn:microsoft.com/office/officeart/2005/8/layout/orgChart1"/>
    <dgm:cxn modelId="{B6249A4D-E172-455A-B835-937B90909C6F}" type="presParOf" srcId="{9DC86AED-B6DB-4100-9EA0-4E60FFB4A367}" destId="{6D7B6648-0B7F-4E1F-B6C5-CE0E2F04B9FF}" srcOrd="1" destOrd="0" presId="urn:microsoft.com/office/officeart/2005/8/layout/orgChart1"/>
    <dgm:cxn modelId="{4BF53A35-0456-454A-8D0B-F14A6457079F}" type="presParOf" srcId="{35CBA655-D40F-4A2B-B71A-711D392B5A84}" destId="{29CE8073-D253-4588-B954-7167D33B1947}" srcOrd="1" destOrd="0" presId="urn:microsoft.com/office/officeart/2005/8/layout/orgChart1"/>
    <dgm:cxn modelId="{89BCDBB5-4DF9-4C0D-BEFF-67F58005F3E8}" type="presParOf" srcId="{29CE8073-D253-4588-B954-7167D33B1947}" destId="{AEDC7120-FE6F-49D8-95F2-AB1B2B6AC9A8}" srcOrd="0" destOrd="0" presId="urn:microsoft.com/office/officeart/2005/8/layout/orgChart1"/>
    <dgm:cxn modelId="{EC89F01A-039E-46BD-9869-140B39E10258}" type="presParOf" srcId="{29CE8073-D253-4588-B954-7167D33B1947}" destId="{F65159AB-B6AE-4C58-BE85-DB4966F15FBA}" srcOrd="1" destOrd="0" presId="urn:microsoft.com/office/officeart/2005/8/layout/orgChart1"/>
    <dgm:cxn modelId="{BF4F6EEA-20BC-485F-88E8-AEEF911E09F2}" type="presParOf" srcId="{F65159AB-B6AE-4C58-BE85-DB4966F15FBA}" destId="{4413A7CD-B07B-4481-95F7-63264BEB8326}" srcOrd="0" destOrd="0" presId="urn:microsoft.com/office/officeart/2005/8/layout/orgChart1"/>
    <dgm:cxn modelId="{8F5AF76F-A3AA-4FB4-B27C-D0BF4AE84485}" type="presParOf" srcId="{4413A7CD-B07B-4481-95F7-63264BEB8326}" destId="{6E033C69-6BA8-4812-AE4E-0022A986E944}" srcOrd="0" destOrd="0" presId="urn:microsoft.com/office/officeart/2005/8/layout/orgChart1"/>
    <dgm:cxn modelId="{B997B84C-B569-42E2-8150-1FE29E9EEFF7}" type="presParOf" srcId="{4413A7CD-B07B-4481-95F7-63264BEB8326}" destId="{20C564F4-BF5C-4321-B86B-65391CEDEFC7}" srcOrd="1" destOrd="0" presId="urn:microsoft.com/office/officeart/2005/8/layout/orgChart1"/>
    <dgm:cxn modelId="{35FC89AC-2C1D-491A-8D85-2C3346C8E241}" type="presParOf" srcId="{F65159AB-B6AE-4C58-BE85-DB4966F15FBA}" destId="{7C0A51FE-5187-4FBA-A9F6-DFFAA1B3DD3E}" srcOrd="1" destOrd="0" presId="urn:microsoft.com/office/officeart/2005/8/layout/orgChart1"/>
    <dgm:cxn modelId="{A9983BEE-9C71-430F-946D-4F4FAEB20A43}" type="presParOf" srcId="{F65159AB-B6AE-4C58-BE85-DB4966F15FBA}" destId="{A5F1F6CB-B812-4FEA-ACD0-E838992C8274}" srcOrd="2" destOrd="0" presId="urn:microsoft.com/office/officeart/2005/8/layout/orgChart1"/>
    <dgm:cxn modelId="{FFAECF93-4AF6-46E7-B13B-A22E665A07D3}" type="presParOf" srcId="{29CE8073-D253-4588-B954-7167D33B1947}" destId="{28E82B1A-B1F2-4CC5-9B64-B60015CBF624}" srcOrd="2" destOrd="0" presId="urn:microsoft.com/office/officeart/2005/8/layout/orgChart1"/>
    <dgm:cxn modelId="{0A415404-A3B2-498B-8C1F-F463BCB2E62F}" type="presParOf" srcId="{29CE8073-D253-4588-B954-7167D33B1947}" destId="{B22DAA2B-22C5-4EFA-A0A6-9AD0235D2103}" srcOrd="3" destOrd="0" presId="urn:microsoft.com/office/officeart/2005/8/layout/orgChart1"/>
    <dgm:cxn modelId="{3E9B3580-019F-44D1-B12C-BA437214DCEB}" type="presParOf" srcId="{B22DAA2B-22C5-4EFA-A0A6-9AD0235D2103}" destId="{514CA667-AA27-4D37-9311-1D5D85EF643D}" srcOrd="0" destOrd="0" presId="urn:microsoft.com/office/officeart/2005/8/layout/orgChart1"/>
    <dgm:cxn modelId="{7420E54B-855E-446A-B78B-6CF8E5570CB8}" type="presParOf" srcId="{514CA667-AA27-4D37-9311-1D5D85EF643D}" destId="{428A54D9-43F6-47B6-B3A2-FDCE09CB5A97}" srcOrd="0" destOrd="0" presId="urn:microsoft.com/office/officeart/2005/8/layout/orgChart1"/>
    <dgm:cxn modelId="{883C2716-915E-4966-AD1A-52783EC8C564}" type="presParOf" srcId="{514CA667-AA27-4D37-9311-1D5D85EF643D}" destId="{31DAB6FE-4097-4695-9397-7DCCE262634B}" srcOrd="1" destOrd="0" presId="urn:microsoft.com/office/officeart/2005/8/layout/orgChart1"/>
    <dgm:cxn modelId="{026AD106-90D6-4641-9C58-5731B72B7B38}" type="presParOf" srcId="{B22DAA2B-22C5-4EFA-A0A6-9AD0235D2103}" destId="{F4CC167B-F2F2-455C-9A45-823F18AFEF9A}" srcOrd="1" destOrd="0" presId="urn:microsoft.com/office/officeart/2005/8/layout/orgChart1"/>
    <dgm:cxn modelId="{F020807F-3AB5-4ED6-A2D9-786E4DA7AD71}" type="presParOf" srcId="{B22DAA2B-22C5-4EFA-A0A6-9AD0235D2103}" destId="{A5D0575B-48E0-4A98-88E8-8B4961A6F762}" srcOrd="2" destOrd="0" presId="urn:microsoft.com/office/officeart/2005/8/layout/orgChart1"/>
    <dgm:cxn modelId="{AD84A3FD-A1F6-4497-BEFD-3D0DC884BD0B}" type="presParOf" srcId="{29CE8073-D253-4588-B954-7167D33B1947}" destId="{11628582-088E-42FA-B6EC-953F652565B0}" srcOrd="4" destOrd="0" presId="urn:microsoft.com/office/officeart/2005/8/layout/orgChart1"/>
    <dgm:cxn modelId="{E7263CE3-7E2B-4981-929F-35B7233E08FD}" type="presParOf" srcId="{29CE8073-D253-4588-B954-7167D33B1947}" destId="{7E6CA653-D7FD-4B20-AE44-C1F44E30C01B}" srcOrd="5" destOrd="0" presId="urn:microsoft.com/office/officeart/2005/8/layout/orgChart1"/>
    <dgm:cxn modelId="{29F97E9A-465F-4123-B857-8E6643B8C30D}" type="presParOf" srcId="{7E6CA653-D7FD-4B20-AE44-C1F44E30C01B}" destId="{E179F35A-A640-480A-9C40-3D39813B5DA3}" srcOrd="0" destOrd="0" presId="urn:microsoft.com/office/officeart/2005/8/layout/orgChart1"/>
    <dgm:cxn modelId="{A4FEF6BB-A106-4CC0-94F8-232EA6CA3FB5}" type="presParOf" srcId="{E179F35A-A640-480A-9C40-3D39813B5DA3}" destId="{93507A0E-B606-4F7A-9C01-283769128FF2}" srcOrd="0" destOrd="0" presId="urn:microsoft.com/office/officeart/2005/8/layout/orgChart1"/>
    <dgm:cxn modelId="{2F2A3CB8-3901-4852-92E7-AC1A74175EA1}" type="presParOf" srcId="{E179F35A-A640-480A-9C40-3D39813B5DA3}" destId="{FA7ED8CE-14CF-4D38-BE63-D19E93618025}" srcOrd="1" destOrd="0" presId="urn:microsoft.com/office/officeart/2005/8/layout/orgChart1"/>
    <dgm:cxn modelId="{8A371477-AADC-4831-90C6-7B86BAB1BB4B}" type="presParOf" srcId="{7E6CA653-D7FD-4B20-AE44-C1F44E30C01B}" destId="{D06BFE77-47E2-4E99-9240-F26F88BFBEAB}" srcOrd="1" destOrd="0" presId="urn:microsoft.com/office/officeart/2005/8/layout/orgChart1"/>
    <dgm:cxn modelId="{15C2F401-CC31-49D1-B2AA-BB75D7B4751D}" type="presParOf" srcId="{7E6CA653-D7FD-4B20-AE44-C1F44E30C01B}" destId="{801CA00E-B2B0-4EC5-9889-E9E28C332373}" srcOrd="2" destOrd="0" presId="urn:microsoft.com/office/officeart/2005/8/layout/orgChart1"/>
    <dgm:cxn modelId="{07697027-09CB-47CD-8285-88BEED0751B2}" type="presParOf" srcId="{35CBA655-D40F-4A2B-B71A-711D392B5A84}" destId="{528156B2-647C-44D5-ABAD-EBDCDF85B348}" srcOrd="2" destOrd="0" presId="urn:microsoft.com/office/officeart/2005/8/layout/orgChart1"/>
    <dgm:cxn modelId="{15F80A9E-280C-456A-950E-1BA9786399EC}" type="presParOf" srcId="{EC72B6B4-B63E-4FE2-8CC2-5FA221770366}" destId="{B562ECC0-9994-4B01-9E77-D5C13C496118}" srcOrd="6" destOrd="0" presId="urn:microsoft.com/office/officeart/2005/8/layout/orgChart1"/>
    <dgm:cxn modelId="{656ABDBE-5A96-4964-B077-16BD4E6CCF9C}" type="presParOf" srcId="{EC72B6B4-B63E-4FE2-8CC2-5FA221770366}" destId="{E18799E9-9DA7-423F-B7B3-369EFE76B3B6}" srcOrd="7" destOrd="0" presId="urn:microsoft.com/office/officeart/2005/8/layout/orgChart1"/>
    <dgm:cxn modelId="{A9BB6537-E563-4D59-A2A9-CA836B98F341}" type="presParOf" srcId="{E18799E9-9DA7-423F-B7B3-369EFE76B3B6}" destId="{354F8417-6C70-4131-8450-E52EDD2EFA17}" srcOrd="0" destOrd="0" presId="urn:microsoft.com/office/officeart/2005/8/layout/orgChart1"/>
    <dgm:cxn modelId="{9ECAD320-06FF-4D27-B272-37BB2CB521AE}" type="presParOf" srcId="{354F8417-6C70-4131-8450-E52EDD2EFA17}" destId="{67A44139-B3F0-4118-89E8-A44A0D503C36}" srcOrd="0" destOrd="0" presId="urn:microsoft.com/office/officeart/2005/8/layout/orgChart1"/>
    <dgm:cxn modelId="{BF757D52-3749-425C-9EAC-A57F985AA91B}" type="presParOf" srcId="{354F8417-6C70-4131-8450-E52EDD2EFA17}" destId="{B2267437-59D9-4F70-9854-AF295901641A}" srcOrd="1" destOrd="0" presId="urn:microsoft.com/office/officeart/2005/8/layout/orgChart1"/>
    <dgm:cxn modelId="{E2686E38-B0F1-40A3-9B23-B3CF80292FB4}" type="presParOf" srcId="{E18799E9-9DA7-423F-B7B3-369EFE76B3B6}" destId="{A6AF8EE9-DBFC-447B-8940-E76A065FD97B}" srcOrd="1" destOrd="0" presId="urn:microsoft.com/office/officeart/2005/8/layout/orgChart1"/>
    <dgm:cxn modelId="{4E7FDFBB-4F20-403F-8903-53917F55692C}" type="presParOf" srcId="{A6AF8EE9-DBFC-447B-8940-E76A065FD97B}" destId="{2BC6CEE4-3F67-4FA6-8639-65EC4CCFF4D9}" srcOrd="0" destOrd="0" presId="urn:microsoft.com/office/officeart/2005/8/layout/orgChart1"/>
    <dgm:cxn modelId="{FCC66339-24A9-4982-B2C1-B721B0D449EB}" type="presParOf" srcId="{A6AF8EE9-DBFC-447B-8940-E76A065FD97B}" destId="{56EAD692-CF12-4F08-9E91-48B2A708FB71}" srcOrd="1" destOrd="0" presId="urn:microsoft.com/office/officeart/2005/8/layout/orgChart1"/>
    <dgm:cxn modelId="{E92C6F9B-18EC-4461-8FD2-ADB109E24CAB}" type="presParOf" srcId="{56EAD692-CF12-4F08-9E91-48B2A708FB71}" destId="{17485795-B1F1-44AB-A6F9-533EF86E010F}" srcOrd="0" destOrd="0" presId="urn:microsoft.com/office/officeart/2005/8/layout/orgChart1"/>
    <dgm:cxn modelId="{286B337C-3314-4D9F-92A8-31F56DEC6774}" type="presParOf" srcId="{17485795-B1F1-44AB-A6F9-533EF86E010F}" destId="{1B4F947A-69EB-46FF-A1EA-7664283D213E}" srcOrd="0" destOrd="0" presId="urn:microsoft.com/office/officeart/2005/8/layout/orgChart1"/>
    <dgm:cxn modelId="{3B9646EC-9A49-4B25-80E2-5D606E719071}" type="presParOf" srcId="{17485795-B1F1-44AB-A6F9-533EF86E010F}" destId="{C553D0C6-AEE4-4F65-8DAC-62449D94D6A7}" srcOrd="1" destOrd="0" presId="urn:microsoft.com/office/officeart/2005/8/layout/orgChart1"/>
    <dgm:cxn modelId="{CE25BB06-01A2-4AD9-A7D9-6CEB2CE3E286}" type="presParOf" srcId="{56EAD692-CF12-4F08-9E91-48B2A708FB71}" destId="{704B6FE3-1A93-464C-BD7D-26786EA03069}" srcOrd="1" destOrd="0" presId="urn:microsoft.com/office/officeart/2005/8/layout/orgChart1"/>
    <dgm:cxn modelId="{25364B19-0AC7-41E2-A7C6-4DF8A7E1278F}" type="presParOf" srcId="{56EAD692-CF12-4F08-9E91-48B2A708FB71}" destId="{DA9CB0A7-0D84-4FCC-8CAA-C663566F179D}" srcOrd="2" destOrd="0" presId="urn:microsoft.com/office/officeart/2005/8/layout/orgChart1"/>
    <dgm:cxn modelId="{63B9F81E-10CB-4AA5-B44D-DE0329D32034}" type="presParOf" srcId="{A6AF8EE9-DBFC-447B-8940-E76A065FD97B}" destId="{981682D2-6375-4500-994F-C7CC83594561}" srcOrd="2" destOrd="0" presId="urn:microsoft.com/office/officeart/2005/8/layout/orgChart1"/>
    <dgm:cxn modelId="{5EC4D1C7-22D5-443B-9084-6302F1E95EE7}" type="presParOf" srcId="{A6AF8EE9-DBFC-447B-8940-E76A065FD97B}" destId="{5AD24796-DC78-4C67-B9F3-06DC4CB79087}" srcOrd="3" destOrd="0" presId="urn:microsoft.com/office/officeart/2005/8/layout/orgChart1"/>
    <dgm:cxn modelId="{96475687-31A4-4A63-9C45-7B1164D76B92}" type="presParOf" srcId="{5AD24796-DC78-4C67-B9F3-06DC4CB79087}" destId="{0E2F19BE-3966-4520-8470-5F47706807ED}" srcOrd="0" destOrd="0" presId="urn:microsoft.com/office/officeart/2005/8/layout/orgChart1"/>
    <dgm:cxn modelId="{B2B71FF9-E4D9-4516-B866-348E81C96005}" type="presParOf" srcId="{0E2F19BE-3966-4520-8470-5F47706807ED}" destId="{78B1DB83-1FBB-4B72-AADA-6CBB1DAEF356}" srcOrd="0" destOrd="0" presId="urn:microsoft.com/office/officeart/2005/8/layout/orgChart1"/>
    <dgm:cxn modelId="{FA9FE66D-DDF6-4FF1-B946-967A36341514}" type="presParOf" srcId="{0E2F19BE-3966-4520-8470-5F47706807ED}" destId="{BB23809A-293F-4A54-B283-6C2D984F118D}" srcOrd="1" destOrd="0" presId="urn:microsoft.com/office/officeart/2005/8/layout/orgChart1"/>
    <dgm:cxn modelId="{DE6B02BE-B1CD-4E90-8045-8760A914B9A0}" type="presParOf" srcId="{5AD24796-DC78-4C67-B9F3-06DC4CB79087}" destId="{9F248D76-C2BC-4060-8C04-B530C444F409}" srcOrd="1" destOrd="0" presId="urn:microsoft.com/office/officeart/2005/8/layout/orgChart1"/>
    <dgm:cxn modelId="{900E3A9F-0ADF-4BE6-97A7-882D98E02A41}" type="presParOf" srcId="{5AD24796-DC78-4C67-B9F3-06DC4CB79087}" destId="{6105CD00-5C50-452A-994E-5B0FFFC4DA91}" srcOrd="2" destOrd="0" presId="urn:microsoft.com/office/officeart/2005/8/layout/orgChart1"/>
    <dgm:cxn modelId="{CB408591-5A51-4A7E-945C-0E3647BF34DE}" type="presParOf" srcId="{A6AF8EE9-DBFC-447B-8940-E76A065FD97B}" destId="{AD70828E-DDD4-480C-BDFF-1E596F6615D1}" srcOrd="4" destOrd="0" presId="urn:microsoft.com/office/officeart/2005/8/layout/orgChart1"/>
    <dgm:cxn modelId="{336274DA-7D8F-42D8-AC0B-827487F99A72}" type="presParOf" srcId="{A6AF8EE9-DBFC-447B-8940-E76A065FD97B}" destId="{147EF30B-BA3D-4473-9AD2-CC7014F27C11}" srcOrd="5" destOrd="0" presId="urn:microsoft.com/office/officeart/2005/8/layout/orgChart1"/>
    <dgm:cxn modelId="{F2FDB6A6-9273-4A73-BC02-EA1C492C838C}" type="presParOf" srcId="{147EF30B-BA3D-4473-9AD2-CC7014F27C11}" destId="{77306BB1-6CDB-40C5-85B1-4980890A9206}" srcOrd="0" destOrd="0" presId="urn:microsoft.com/office/officeart/2005/8/layout/orgChart1"/>
    <dgm:cxn modelId="{AEBCA35C-A5F6-4CC5-8097-3505F1BA64F2}" type="presParOf" srcId="{77306BB1-6CDB-40C5-85B1-4980890A9206}" destId="{43C79B55-7800-4403-B3B4-49E5363FFF1E}" srcOrd="0" destOrd="0" presId="urn:microsoft.com/office/officeart/2005/8/layout/orgChart1"/>
    <dgm:cxn modelId="{6514C493-D423-4AAC-9183-07C204ACD5BD}" type="presParOf" srcId="{77306BB1-6CDB-40C5-85B1-4980890A9206}" destId="{FD009694-C9A9-4545-B9B4-AE343C4C6314}" srcOrd="1" destOrd="0" presId="urn:microsoft.com/office/officeart/2005/8/layout/orgChart1"/>
    <dgm:cxn modelId="{B8C6E639-43E3-417D-A8EC-F21FE76A6853}" type="presParOf" srcId="{147EF30B-BA3D-4473-9AD2-CC7014F27C11}" destId="{E7CAB4B1-64D6-4507-9B2D-46604CB6848C}" srcOrd="1" destOrd="0" presId="urn:microsoft.com/office/officeart/2005/8/layout/orgChart1"/>
    <dgm:cxn modelId="{2CEFF071-A443-456D-A9E5-FCF4737DDF7A}" type="presParOf" srcId="{147EF30B-BA3D-4473-9AD2-CC7014F27C11}" destId="{283463B1-15A6-4BEF-B96E-DE2502D9F6DF}" srcOrd="2" destOrd="0" presId="urn:microsoft.com/office/officeart/2005/8/layout/orgChart1"/>
    <dgm:cxn modelId="{CE5E9CE6-F6F3-4225-8E24-F0D55F9374E6}" type="presParOf" srcId="{E18799E9-9DA7-423F-B7B3-369EFE76B3B6}" destId="{430C728D-004C-49FD-A0C1-71CD6E772786}" srcOrd="2" destOrd="0" presId="urn:microsoft.com/office/officeart/2005/8/layout/orgChart1"/>
    <dgm:cxn modelId="{3BBC9F49-12D9-4109-8D94-2F233612325A}" type="presParOf" srcId="{25A00B3E-FEA8-439F-999E-8DB6BC95DBC0}" destId="{B87F60ED-85BE-4872-BA6E-CDCB9CBDC6A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26E1133-27F8-42A1-91FE-23383B9ACC99}" type="doc">
      <dgm:prSet loTypeId="urn:microsoft.com/office/officeart/2005/8/layout/orgChart1" loCatId="hierarchy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3BDC9E6-B3ED-4E11-B81F-A36F96CA06AD}">
      <dgm:prSet custT="1"/>
      <dgm:spPr/>
      <dgm:t>
        <a:bodyPr/>
        <a:lstStyle/>
        <a:p>
          <a:pPr rtl="0"/>
          <a:r>
            <a:rPr lang="en-US" sz="2000" dirty="0" err="1" smtClean="0"/>
            <a:t>Modifiabilty</a:t>
          </a:r>
          <a:endParaRPr lang="en-US" sz="2000" dirty="0"/>
        </a:p>
      </dgm:t>
    </dgm:pt>
    <dgm:pt modelId="{818B4425-229C-4D05-BD73-F2583AB7B9C5}" type="parTrans" cxnId="{E040E2E2-F016-4F82-9927-EA3D62DA0F57}">
      <dgm:prSet/>
      <dgm:spPr/>
      <dgm:t>
        <a:bodyPr/>
        <a:lstStyle/>
        <a:p>
          <a:endParaRPr lang="en-US" sz="2000"/>
        </a:p>
      </dgm:t>
    </dgm:pt>
    <dgm:pt modelId="{A3D2AA9D-1D2C-45CA-9A99-0FD9E343747F}" type="sibTrans" cxnId="{E040E2E2-F016-4F82-9927-EA3D62DA0F57}">
      <dgm:prSet/>
      <dgm:spPr/>
      <dgm:t>
        <a:bodyPr/>
        <a:lstStyle/>
        <a:p>
          <a:endParaRPr lang="en-US" sz="2000"/>
        </a:p>
      </dgm:t>
    </dgm:pt>
    <dgm:pt modelId="{843E3B21-DC9F-4CF8-A7F1-93BF704E47A7}">
      <dgm:prSet custT="1"/>
      <dgm:spPr/>
      <dgm:t>
        <a:bodyPr/>
        <a:lstStyle/>
        <a:p>
          <a:pPr rtl="0"/>
          <a:r>
            <a:rPr lang="en-US" sz="1800" dirty="0" smtClean="0"/>
            <a:t>Localize change</a:t>
          </a:r>
          <a:endParaRPr lang="en-US" sz="1800" dirty="0"/>
        </a:p>
      </dgm:t>
    </dgm:pt>
    <dgm:pt modelId="{3EEFE082-C4FA-499A-BA01-E4B8217A4B73}" type="parTrans" cxnId="{3C110BFF-FD87-473E-9985-0D9D761E60BD}">
      <dgm:prSet/>
      <dgm:spPr/>
      <dgm:t>
        <a:bodyPr/>
        <a:lstStyle/>
        <a:p>
          <a:endParaRPr lang="en-US" sz="2000"/>
        </a:p>
      </dgm:t>
    </dgm:pt>
    <dgm:pt modelId="{2992CB8F-FBF4-486F-BE86-7AEC96D28238}" type="sibTrans" cxnId="{3C110BFF-FD87-473E-9985-0D9D761E60BD}">
      <dgm:prSet/>
      <dgm:spPr/>
      <dgm:t>
        <a:bodyPr/>
        <a:lstStyle/>
        <a:p>
          <a:endParaRPr lang="en-US" sz="2000"/>
        </a:p>
      </dgm:t>
    </dgm:pt>
    <dgm:pt modelId="{A240A1E1-162D-4A6E-A806-B6FF45B3AB68}">
      <dgm:prSet custT="1"/>
      <dgm:spPr/>
      <dgm:t>
        <a:bodyPr/>
        <a:lstStyle/>
        <a:p>
          <a:pPr rtl="0"/>
          <a:r>
            <a:rPr lang="en-US" sz="1600" dirty="0" smtClean="0"/>
            <a:t>Runtime registration</a:t>
          </a:r>
          <a:endParaRPr lang="en-US" sz="1600" dirty="0"/>
        </a:p>
      </dgm:t>
    </dgm:pt>
    <dgm:pt modelId="{F0BD47AB-7AC9-40A2-A96D-1A911EFDE7FF}" type="parTrans" cxnId="{CCB5AE26-70F4-4C5B-B53D-136E39A12AC5}">
      <dgm:prSet/>
      <dgm:spPr/>
      <dgm:t>
        <a:bodyPr/>
        <a:lstStyle/>
        <a:p>
          <a:endParaRPr lang="en-US" sz="2000"/>
        </a:p>
      </dgm:t>
    </dgm:pt>
    <dgm:pt modelId="{A12D77FB-8453-4F78-A007-65AD68966259}" type="sibTrans" cxnId="{CCB5AE26-70F4-4C5B-B53D-136E39A12AC5}">
      <dgm:prSet/>
      <dgm:spPr/>
      <dgm:t>
        <a:bodyPr/>
        <a:lstStyle/>
        <a:p>
          <a:endParaRPr lang="en-US" sz="2000"/>
        </a:p>
      </dgm:t>
    </dgm:pt>
    <dgm:pt modelId="{E420C67E-C4C2-476B-9B47-FFB47D587009}">
      <dgm:prSet custT="1"/>
      <dgm:spPr/>
      <dgm:t>
        <a:bodyPr/>
        <a:lstStyle/>
        <a:p>
          <a:pPr rtl="0"/>
          <a:r>
            <a:rPr lang="en-US" sz="1800" dirty="0" smtClean="0"/>
            <a:t>Prevent Ripple effect</a:t>
          </a:r>
          <a:endParaRPr lang="en-US" sz="1800" dirty="0"/>
        </a:p>
      </dgm:t>
    </dgm:pt>
    <dgm:pt modelId="{65D088B7-B36E-49AA-84B9-2BC51B326EA1}" type="parTrans" cxnId="{2AC6A1A2-FDAF-4C07-BF93-78DC05214544}">
      <dgm:prSet/>
      <dgm:spPr/>
      <dgm:t>
        <a:bodyPr/>
        <a:lstStyle/>
        <a:p>
          <a:endParaRPr lang="en-US"/>
        </a:p>
      </dgm:t>
    </dgm:pt>
    <dgm:pt modelId="{7CC715FB-928E-4CFE-A8F5-045F16B2D743}" type="sibTrans" cxnId="{2AC6A1A2-FDAF-4C07-BF93-78DC05214544}">
      <dgm:prSet/>
      <dgm:spPr/>
      <dgm:t>
        <a:bodyPr/>
        <a:lstStyle/>
        <a:p>
          <a:endParaRPr lang="en-US"/>
        </a:p>
      </dgm:t>
    </dgm:pt>
    <dgm:pt modelId="{1CE2D78B-C788-472A-8424-7F9A4AB5205E}">
      <dgm:prSet custT="1"/>
      <dgm:spPr/>
      <dgm:t>
        <a:bodyPr/>
        <a:lstStyle/>
        <a:p>
          <a:pPr rtl="0"/>
          <a:r>
            <a:rPr lang="en-US" sz="1800" dirty="0" smtClean="0"/>
            <a:t>Defer binding</a:t>
          </a:r>
          <a:endParaRPr lang="en-US" sz="1800" dirty="0"/>
        </a:p>
      </dgm:t>
    </dgm:pt>
    <dgm:pt modelId="{6ED4E1AA-EFDD-4E70-836E-3DB36084DE98}" type="parTrans" cxnId="{0D252A7C-EA88-478B-9AB7-96B65AE1E68A}">
      <dgm:prSet/>
      <dgm:spPr/>
      <dgm:t>
        <a:bodyPr/>
        <a:lstStyle/>
        <a:p>
          <a:endParaRPr lang="en-US"/>
        </a:p>
      </dgm:t>
    </dgm:pt>
    <dgm:pt modelId="{1D0F051B-C9A8-457A-BE08-985EF4C28172}" type="sibTrans" cxnId="{0D252A7C-EA88-478B-9AB7-96B65AE1E68A}">
      <dgm:prSet/>
      <dgm:spPr/>
      <dgm:t>
        <a:bodyPr/>
        <a:lstStyle/>
        <a:p>
          <a:endParaRPr lang="en-US"/>
        </a:p>
      </dgm:t>
    </dgm:pt>
    <dgm:pt modelId="{35016019-1F0E-47A9-A9CB-AE98C0AFCFC1}">
      <dgm:prSet custT="1"/>
      <dgm:spPr/>
      <dgm:t>
        <a:bodyPr/>
        <a:lstStyle/>
        <a:p>
          <a:pPr rtl="0"/>
          <a:r>
            <a:rPr lang="en-US" sz="1600" dirty="0" smtClean="0"/>
            <a:t>Configuration files</a:t>
          </a:r>
          <a:endParaRPr lang="en-US" sz="1600" dirty="0"/>
        </a:p>
      </dgm:t>
    </dgm:pt>
    <dgm:pt modelId="{A60BCA66-49BB-4275-9110-8B471B3FC59B}" type="parTrans" cxnId="{F0C0AED6-3BFB-430A-84C4-C1842ECA49F1}">
      <dgm:prSet/>
      <dgm:spPr/>
      <dgm:t>
        <a:bodyPr/>
        <a:lstStyle/>
        <a:p>
          <a:endParaRPr lang="en-US"/>
        </a:p>
      </dgm:t>
    </dgm:pt>
    <dgm:pt modelId="{549EC933-326F-43C6-A4AD-B0C6604A5CF9}" type="sibTrans" cxnId="{F0C0AED6-3BFB-430A-84C4-C1842ECA49F1}">
      <dgm:prSet/>
      <dgm:spPr/>
      <dgm:t>
        <a:bodyPr/>
        <a:lstStyle/>
        <a:p>
          <a:endParaRPr lang="en-US"/>
        </a:p>
      </dgm:t>
    </dgm:pt>
    <dgm:pt modelId="{49742260-F14F-4BCB-8D88-ADD2EB5024EC}">
      <dgm:prSet custT="1"/>
      <dgm:spPr/>
      <dgm:t>
        <a:bodyPr/>
        <a:lstStyle/>
        <a:p>
          <a:pPr rtl="0"/>
          <a:r>
            <a:rPr lang="en-US" sz="1600" dirty="0" smtClean="0"/>
            <a:t>Polymorphism</a:t>
          </a:r>
          <a:endParaRPr lang="en-US" sz="1600" dirty="0"/>
        </a:p>
      </dgm:t>
    </dgm:pt>
    <dgm:pt modelId="{9275B05E-F520-4192-9B33-84AEEBC3F62D}" type="parTrans" cxnId="{A0E66910-A417-4433-846A-E364FADC3533}">
      <dgm:prSet/>
      <dgm:spPr/>
      <dgm:t>
        <a:bodyPr/>
        <a:lstStyle/>
        <a:p>
          <a:endParaRPr lang="en-US"/>
        </a:p>
      </dgm:t>
    </dgm:pt>
    <dgm:pt modelId="{BDB94797-518D-4543-8D6F-13596FEC7A22}" type="sibTrans" cxnId="{A0E66910-A417-4433-846A-E364FADC3533}">
      <dgm:prSet/>
      <dgm:spPr/>
      <dgm:t>
        <a:bodyPr/>
        <a:lstStyle/>
        <a:p>
          <a:endParaRPr lang="en-US"/>
        </a:p>
      </dgm:t>
    </dgm:pt>
    <dgm:pt modelId="{0216D3CF-84E5-4443-8082-6C6C297E9A4D}">
      <dgm:prSet custT="1"/>
      <dgm:spPr/>
      <dgm:t>
        <a:bodyPr/>
        <a:lstStyle/>
        <a:p>
          <a:pPr rtl="0"/>
          <a:r>
            <a:rPr lang="en-US" sz="1800" b="0" dirty="0" smtClean="0"/>
            <a:t>Hide Information</a:t>
          </a:r>
          <a:endParaRPr lang="en-US" sz="1800" b="0" dirty="0"/>
        </a:p>
      </dgm:t>
    </dgm:pt>
    <dgm:pt modelId="{C3334397-F4C9-43FD-9DE7-786437A51BF8}" type="parTrans" cxnId="{EF17C288-FABF-470A-9F6E-6F1AC60C08BE}">
      <dgm:prSet/>
      <dgm:spPr/>
      <dgm:t>
        <a:bodyPr/>
        <a:lstStyle/>
        <a:p>
          <a:endParaRPr lang="en-US"/>
        </a:p>
      </dgm:t>
    </dgm:pt>
    <dgm:pt modelId="{9C27E3D0-AEBB-4C4C-AFEA-8F9AF608B21E}" type="sibTrans" cxnId="{EF17C288-FABF-470A-9F6E-6F1AC60C08BE}">
      <dgm:prSet/>
      <dgm:spPr/>
      <dgm:t>
        <a:bodyPr/>
        <a:lstStyle/>
        <a:p>
          <a:endParaRPr lang="en-US"/>
        </a:p>
      </dgm:t>
    </dgm:pt>
    <dgm:pt modelId="{90833815-F732-45AF-B735-7A208BE16A8A}">
      <dgm:prSet custT="1"/>
      <dgm:spPr/>
      <dgm:t>
        <a:bodyPr/>
        <a:lstStyle/>
        <a:p>
          <a:pPr rtl="0"/>
          <a:r>
            <a:rPr lang="en-US" sz="1800" b="0" dirty="0" smtClean="0"/>
            <a:t>Maintain Existing Interface</a:t>
          </a:r>
          <a:endParaRPr lang="en-US" sz="1800" b="0" dirty="0"/>
        </a:p>
      </dgm:t>
    </dgm:pt>
    <dgm:pt modelId="{62301F5E-BDD5-4369-B9CF-5999FECA1C85}" type="parTrans" cxnId="{A630084D-67F8-48A7-9951-F46F3604D1B4}">
      <dgm:prSet/>
      <dgm:spPr/>
      <dgm:t>
        <a:bodyPr/>
        <a:lstStyle/>
        <a:p>
          <a:endParaRPr lang="en-US"/>
        </a:p>
      </dgm:t>
    </dgm:pt>
    <dgm:pt modelId="{7A88FAF5-FAAB-4848-B347-2B42AF8023FF}" type="sibTrans" cxnId="{A630084D-67F8-48A7-9951-F46F3604D1B4}">
      <dgm:prSet/>
      <dgm:spPr/>
      <dgm:t>
        <a:bodyPr/>
        <a:lstStyle/>
        <a:p>
          <a:endParaRPr lang="en-US"/>
        </a:p>
      </dgm:t>
    </dgm:pt>
    <dgm:pt modelId="{2F6572D1-3E4E-41CC-B816-15F6AA753750}">
      <dgm:prSet custT="1"/>
      <dgm:spPr/>
      <dgm:t>
        <a:bodyPr/>
        <a:lstStyle/>
        <a:p>
          <a:pPr rtl="0"/>
          <a:r>
            <a:rPr lang="en-US" sz="1800" b="0" dirty="0" smtClean="0"/>
            <a:t>Restrict Communication Paths</a:t>
          </a:r>
          <a:endParaRPr lang="en-US" sz="1800" b="0" dirty="0"/>
        </a:p>
      </dgm:t>
    </dgm:pt>
    <dgm:pt modelId="{453F9760-1876-428B-8CB6-DA8F60516D89}" type="parTrans" cxnId="{06E71150-3811-4FC5-8858-0203DD6C998E}">
      <dgm:prSet/>
      <dgm:spPr/>
      <dgm:t>
        <a:bodyPr/>
        <a:lstStyle/>
        <a:p>
          <a:endParaRPr lang="en-US"/>
        </a:p>
      </dgm:t>
    </dgm:pt>
    <dgm:pt modelId="{F36BC338-6ADD-4D27-8F50-A2943AF092AF}" type="sibTrans" cxnId="{06E71150-3811-4FC5-8858-0203DD6C998E}">
      <dgm:prSet/>
      <dgm:spPr/>
      <dgm:t>
        <a:bodyPr/>
        <a:lstStyle/>
        <a:p>
          <a:endParaRPr lang="en-US"/>
        </a:p>
      </dgm:t>
    </dgm:pt>
    <dgm:pt modelId="{CFEBB133-5D80-4E9D-815E-BA7E2B5804D2}">
      <dgm:prSet custT="1"/>
      <dgm:spPr/>
      <dgm:t>
        <a:bodyPr/>
        <a:lstStyle/>
        <a:p>
          <a:pPr rtl="0"/>
          <a:r>
            <a:rPr lang="en-US" sz="1800" dirty="0" smtClean="0"/>
            <a:t>Use intermediary between modules</a:t>
          </a:r>
          <a:endParaRPr lang="en-US" sz="1800" dirty="0"/>
        </a:p>
      </dgm:t>
    </dgm:pt>
    <dgm:pt modelId="{6C5C9B86-7AAA-465B-98FF-E3F38189A3AE}" type="parTrans" cxnId="{7E8A394C-0B32-41E9-BC7B-038412EB61D4}">
      <dgm:prSet/>
      <dgm:spPr/>
      <dgm:t>
        <a:bodyPr/>
        <a:lstStyle/>
        <a:p>
          <a:endParaRPr lang="en-US"/>
        </a:p>
      </dgm:t>
    </dgm:pt>
    <dgm:pt modelId="{7FDECB7D-540F-4AC8-A911-0EDE43878630}" type="sibTrans" cxnId="{7E8A394C-0B32-41E9-BC7B-038412EB61D4}">
      <dgm:prSet/>
      <dgm:spPr/>
      <dgm:t>
        <a:bodyPr/>
        <a:lstStyle/>
        <a:p>
          <a:endParaRPr lang="en-US"/>
        </a:p>
      </dgm:t>
    </dgm:pt>
    <dgm:pt modelId="{720AE7B9-47AD-4FF9-8447-DF1B8C5FD193}">
      <dgm:prSet custT="1"/>
      <dgm:spPr/>
      <dgm:t>
        <a:bodyPr/>
        <a:lstStyle/>
        <a:p>
          <a:pPr rtl="0"/>
          <a:r>
            <a:rPr lang="en-US" sz="1800" dirty="0" smtClean="0"/>
            <a:t>Factoring common service</a:t>
          </a:r>
          <a:endParaRPr lang="en-US" sz="1800" dirty="0"/>
        </a:p>
      </dgm:t>
    </dgm:pt>
    <dgm:pt modelId="{3722DDF4-26E2-4422-A516-DEEAC3ECF65B}" type="parTrans" cxnId="{C7B12242-93F1-42B1-8149-73B2BE7E9DC0}">
      <dgm:prSet/>
      <dgm:spPr/>
      <dgm:t>
        <a:bodyPr/>
        <a:lstStyle/>
        <a:p>
          <a:endParaRPr lang="en-US"/>
        </a:p>
      </dgm:t>
    </dgm:pt>
    <dgm:pt modelId="{D7F902F3-F976-415B-98C3-59057320C539}" type="sibTrans" cxnId="{C7B12242-93F1-42B1-8149-73B2BE7E9DC0}">
      <dgm:prSet/>
      <dgm:spPr/>
      <dgm:t>
        <a:bodyPr/>
        <a:lstStyle/>
        <a:p>
          <a:endParaRPr lang="en-US"/>
        </a:p>
      </dgm:t>
    </dgm:pt>
    <dgm:pt modelId="{7D7C3FA2-CE75-4B7D-A218-416906B8D917}">
      <dgm:prSet custT="1"/>
      <dgm:spPr/>
      <dgm:t>
        <a:bodyPr/>
        <a:lstStyle/>
        <a:p>
          <a:pPr rtl="0"/>
          <a:r>
            <a:rPr lang="en-US" sz="1800" dirty="0" smtClean="0"/>
            <a:t>Anticipate change</a:t>
          </a:r>
          <a:endParaRPr lang="en-US" sz="1800" dirty="0"/>
        </a:p>
      </dgm:t>
    </dgm:pt>
    <dgm:pt modelId="{14236E25-24F5-4DBC-8E23-FED5A30DEF0E}" type="parTrans" cxnId="{2648CEB6-4DB9-42A6-B700-4831395E15AC}">
      <dgm:prSet/>
      <dgm:spPr/>
      <dgm:t>
        <a:bodyPr/>
        <a:lstStyle/>
        <a:p>
          <a:endParaRPr lang="en-US"/>
        </a:p>
      </dgm:t>
    </dgm:pt>
    <dgm:pt modelId="{FB40D391-DB77-4C2C-BDCE-7A207CEAE6FE}" type="sibTrans" cxnId="{2648CEB6-4DB9-42A6-B700-4831395E15AC}">
      <dgm:prSet/>
      <dgm:spPr/>
      <dgm:t>
        <a:bodyPr/>
        <a:lstStyle/>
        <a:p>
          <a:endParaRPr lang="en-US"/>
        </a:p>
      </dgm:t>
    </dgm:pt>
    <dgm:pt modelId="{9B931718-FC68-4B2E-9854-492BCFE6FE83}">
      <dgm:prSet custT="1"/>
      <dgm:spPr/>
      <dgm:t>
        <a:bodyPr/>
        <a:lstStyle/>
        <a:p>
          <a:pPr rtl="0"/>
          <a:r>
            <a:rPr lang="en-US" sz="1800" dirty="0" smtClean="0"/>
            <a:t>Generalize module</a:t>
          </a:r>
          <a:endParaRPr lang="en-US" sz="1800" dirty="0"/>
        </a:p>
      </dgm:t>
    </dgm:pt>
    <dgm:pt modelId="{359E2506-5D19-4F9C-8688-C666576175A9}" type="parTrans" cxnId="{6E2E3B55-A6EB-46D7-B7D0-04629FD4C800}">
      <dgm:prSet/>
      <dgm:spPr/>
      <dgm:t>
        <a:bodyPr/>
        <a:lstStyle/>
        <a:p>
          <a:endParaRPr lang="en-US"/>
        </a:p>
      </dgm:t>
    </dgm:pt>
    <dgm:pt modelId="{3113A228-1208-4305-91A0-AEEDFF54B5B2}" type="sibTrans" cxnId="{6E2E3B55-A6EB-46D7-B7D0-04629FD4C800}">
      <dgm:prSet/>
      <dgm:spPr/>
      <dgm:t>
        <a:bodyPr/>
        <a:lstStyle/>
        <a:p>
          <a:endParaRPr lang="en-US"/>
        </a:p>
      </dgm:t>
    </dgm:pt>
    <dgm:pt modelId="{E137C9BD-EE5B-476B-B7BA-BA0D9370FCFA}">
      <dgm:prSet custT="1"/>
      <dgm:spPr/>
      <dgm:t>
        <a:bodyPr/>
        <a:lstStyle/>
        <a:p>
          <a:pPr rtl="0"/>
          <a:r>
            <a:rPr lang="en-US" sz="1800" dirty="0" smtClean="0"/>
            <a:t>Limit possible options</a:t>
          </a:r>
          <a:endParaRPr lang="en-US" sz="1800" dirty="0"/>
        </a:p>
      </dgm:t>
    </dgm:pt>
    <dgm:pt modelId="{55D0A0DD-88B0-4C7C-A785-02AC2DD8AEFB}" type="parTrans" cxnId="{93C18DCF-6401-4C24-8BE2-77B239018EAB}">
      <dgm:prSet/>
      <dgm:spPr/>
      <dgm:t>
        <a:bodyPr/>
        <a:lstStyle/>
        <a:p>
          <a:endParaRPr lang="en-US"/>
        </a:p>
      </dgm:t>
    </dgm:pt>
    <dgm:pt modelId="{BCD31398-9148-4314-98D5-83D75352DBF9}" type="sibTrans" cxnId="{93C18DCF-6401-4C24-8BE2-77B239018EAB}">
      <dgm:prSet/>
      <dgm:spPr/>
      <dgm:t>
        <a:bodyPr/>
        <a:lstStyle/>
        <a:p>
          <a:endParaRPr lang="en-US"/>
        </a:p>
      </dgm:t>
    </dgm:pt>
    <dgm:pt modelId="{06D97C9C-573D-4522-BCEF-4077A5734816}">
      <dgm:prSet custT="1"/>
      <dgm:spPr/>
      <dgm:t>
        <a:bodyPr/>
        <a:lstStyle/>
        <a:p>
          <a:pPr rtl="0"/>
          <a:r>
            <a:rPr lang="en-US" sz="1600" dirty="0" smtClean="0"/>
            <a:t>Component replacement</a:t>
          </a:r>
          <a:endParaRPr lang="en-US" sz="1600" dirty="0"/>
        </a:p>
      </dgm:t>
    </dgm:pt>
    <dgm:pt modelId="{8347F65C-462B-45FD-9066-355B95EA2540}" type="parTrans" cxnId="{07FA88B9-A0FB-497A-AE28-D120A7EF9818}">
      <dgm:prSet/>
      <dgm:spPr/>
      <dgm:t>
        <a:bodyPr/>
        <a:lstStyle/>
        <a:p>
          <a:endParaRPr lang="en-US"/>
        </a:p>
      </dgm:t>
    </dgm:pt>
    <dgm:pt modelId="{D708F60A-A2AE-4945-B861-E8EBC113FD88}" type="sibTrans" cxnId="{07FA88B9-A0FB-497A-AE28-D120A7EF9818}">
      <dgm:prSet/>
      <dgm:spPr/>
      <dgm:t>
        <a:bodyPr/>
        <a:lstStyle/>
        <a:p>
          <a:endParaRPr lang="en-US"/>
        </a:p>
      </dgm:t>
    </dgm:pt>
    <dgm:pt modelId="{73A0098F-31D8-453C-84FD-0E0CD7A87527}">
      <dgm:prSet custT="1"/>
      <dgm:spPr/>
      <dgm:t>
        <a:bodyPr/>
        <a:lstStyle/>
        <a:p>
          <a:pPr rtl="0"/>
          <a:r>
            <a:rPr lang="en-US" sz="1600" dirty="0" smtClean="0"/>
            <a:t>Adherence to defined protocols</a:t>
          </a:r>
          <a:endParaRPr lang="en-US" sz="1600" dirty="0"/>
        </a:p>
      </dgm:t>
    </dgm:pt>
    <dgm:pt modelId="{5393009C-F2AE-4FEB-A060-2EF8CA0E315B}" type="parTrans" cxnId="{823C3DDD-4778-4A47-9CCF-05D1CAF70033}">
      <dgm:prSet/>
      <dgm:spPr/>
      <dgm:t>
        <a:bodyPr/>
        <a:lstStyle/>
        <a:p>
          <a:endParaRPr lang="en-US"/>
        </a:p>
      </dgm:t>
    </dgm:pt>
    <dgm:pt modelId="{16A80FE0-982B-4270-9C2E-D28AA7AD0DDC}" type="sibTrans" cxnId="{823C3DDD-4778-4A47-9CCF-05D1CAF70033}">
      <dgm:prSet/>
      <dgm:spPr/>
      <dgm:t>
        <a:bodyPr/>
        <a:lstStyle/>
        <a:p>
          <a:endParaRPr lang="en-US"/>
        </a:p>
      </dgm:t>
    </dgm:pt>
    <dgm:pt modelId="{E9F5810C-05C5-4937-8779-609DD6BD5CFD}" type="pres">
      <dgm:prSet presAssocID="{A26E1133-27F8-42A1-91FE-23383B9ACC9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5A00B3E-FEA8-439F-999E-8DB6BC95DBC0}" type="pres">
      <dgm:prSet presAssocID="{43BDC9E6-B3ED-4E11-B81F-A36F96CA06AD}" presName="hierRoot1" presStyleCnt="0">
        <dgm:presLayoutVars>
          <dgm:hierBranch val="init"/>
        </dgm:presLayoutVars>
      </dgm:prSet>
      <dgm:spPr/>
    </dgm:pt>
    <dgm:pt modelId="{305CB9B7-E4C6-453D-AC39-1DA3FA25C576}" type="pres">
      <dgm:prSet presAssocID="{43BDC9E6-B3ED-4E11-B81F-A36F96CA06AD}" presName="rootComposite1" presStyleCnt="0"/>
      <dgm:spPr/>
    </dgm:pt>
    <dgm:pt modelId="{1AD90FEA-3135-49C2-A3C0-CFEDDC6405B3}" type="pres">
      <dgm:prSet presAssocID="{43BDC9E6-B3ED-4E11-B81F-A36F96CA06AD}" presName="rootText1" presStyleLbl="node0" presStyleIdx="0" presStyleCnt="1" custScaleX="180553" custScaleY="107985" custLinFactNeighborX="1602" custLinFactNeighborY="-4516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86BC6-06CE-4768-9942-F4420543D5EE}" type="pres">
      <dgm:prSet presAssocID="{43BDC9E6-B3ED-4E11-B81F-A36F96CA06A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C72B6B4-B63E-4FE2-8CC2-5FA221770366}" type="pres">
      <dgm:prSet presAssocID="{43BDC9E6-B3ED-4E11-B81F-A36F96CA06AD}" presName="hierChild2" presStyleCnt="0"/>
      <dgm:spPr/>
    </dgm:pt>
    <dgm:pt modelId="{A3BC68A0-CABF-4126-884C-C90818E1E26E}" type="pres">
      <dgm:prSet presAssocID="{3EEFE082-C4FA-499A-BA01-E4B8217A4B73}" presName="Name37" presStyleLbl="parChTrans1D2" presStyleIdx="0" presStyleCnt="3"/>
      <dgm:spPr/>
      <dgm:t>
        <a:bodyPr/>
        <a:lstStyle/>
        <a:p>
          <a:endParaRPr lang="en-US"/>
        </a:p>
      </dgm:t>
    </dgm:pt>
    <dgm:pt modelId="{9B84C5AA-6259-445A-8F7A-6D366FCBB4AD}" type="pres">
      <dgm:prSet presAssocID="{843E3B21-DC9F-4CF8-A7F1-93BF704E47A7}" presName="hierRoot2" presStyleCnt="0">
        <dgm:presLayoutVars>
          <dgm:hierBranch val="init"/>
        </dgm:presLayoutVars>
      </dgm:prSet>
      <dgm:spPr/>
    </dgm:pt>
    <dgm:pt modelId="{F324FB99-E565-440D-9319-A2867DA87756}" type="pres">
      <dgm:prSet presAssocID="{843E3B21-DC9F-4CF8-A7F1-93BF704E47A7}" presName="rootComposite" presStyleCnt="0"/>
      <dgm:spPr/>
    </dgm:pt>
    <dgm:pt modelId="{5E5C4910-D5C2-4117-9825-0F4E2308A1D4}" type="pres">
      <dgm:prSet presAssocID="{843E3B21-DC9F-4CF8-A7F1-93BF704E47A7}" presName="rootText" presStyleLbl="node2" presStyleIdx="0" presStyleCnt="3" custScaleY="90886" custLinFactX="-21305" custLinFactNeighborX="-100000" custLinFactNeighborY="8046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B22B6A5-BFAD-4E5F-BED0-C002FA69FEEF}" type="pres">
      <dgm:prSet presAssocID="{843E3B21-DC9F-4CF8-A7F1-93BF704E47A7}" presName="rootConnector" presStyleLbl="node2" presStyleIdx="0" presStyleCnt="3"/>
      <dgm:spPr/>
      <dgm:t>
        <a:bodyPr/>
        <a:lstStyle/>
        <a:p>
          <a:endParaRPr lang="en-US"/>
        </a:p>
      </dgm:t>
    </dgm:pt>
    <dgm:pt modelId="{16186025-4BC6-46E2-97F6-F9084F02632D}" type="pres">
      <dgm:prSet presAssocID="{843E3B21-DC9F-4CF8-A7F1-93BF704E47A7}" presName="hierChild4" presStyleCnt="0"/>
      <dgm:spPr/>
    </dgm:pt>
    <dgm:pt modelId="{A83ED5F7-10A0-45C9-B814-5804FA76917E}" type="pres">
      <dgm:prSet presAssocID="{3722DDF4-26E2-4422-A516-DEEAC3ECF65B}" presName="Name37" presStyleLbl="parChTrans1D3" presStyleIdx="0" presStyleCnt="13"/>
      <dgm:spPr/>
      <dgm:t>
        <a:bodyPr/>
        <a:lstStyle/>
        <a:p>
          <a:endParaRPr lang="en-US"/>
        </a:p>
      </dgm:t>
    </dgm:pt>
    <dgm:pt modelId="{D44CFE56-6231-4D51-BDF4-F9842887D455}" type="pres">
      <dgm:prSet presAssocID="{720AE7B9-47AD-4FF9-8447-DF1B8C5FD193}" presName="hierRoot2" presStyleCnt="0">
        <dgm:presLayoutVars>
          <dgm:hierBranch val="init"/>
        </dgm:presLayoutVars>
      </dgm:prSet>
      <dgm:spPr/>
    </dgm:pt>
    <dgm:pt modelId="{F340CB26-8421-44AC-9592-9BB7E87D96B8}" type="pres">
      <dgm:prSet presAssocID="{720AE7B9-47AD-4FF9-8447-DF1B8C5FD193}" presName="rootComposite" presStyleCnt="0"/>
      <dgm:spPr/>
    </dgm:pt>
    <dgm:pt modelId="{1064D61A-5C37-497D-A6F5-6312AB6E3F5A}" type="pres">
      <dgm:prSet presAssocID="{720AE7B9-47AD-4FF9-8447-DF1B8C5FD193}" presName="rootText" presStyleLbl="node3" presStyleIdx="0" presStyleCnt="13" custScaleX="187684" custLinFactX="-25253" custLinFactNeighborX="-100000" custLinFactNeighborY="8340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D0BA542-EABF-46D4-A11D-8954A50A4A27}" type="pres">
      <dgm:prSet presAssocID="{720AE7B9-47AD-4FF9-8447-DF1B8C5FD193}" presName="rootConnector" presStyleLbl="node3" presStyleIdx="0" presStyleCnt="13"/>
      <dgm:spPr/>
      <dgm:t>
        <a:bodyPr/>
        <a:lstStyle/>
        <a:p>
          <a:endParaRPr lang="en-US"/>
        </a:p>
      </dgm:t>
    </dgm:pt>
    <dgm:pt modelId="{CB5479DD-BB83-4A7F-A8FE-0204BBEBDE57}" type="pres">
      <dgm:prSet presAssocID="{720AE7B9-47AD-4FF9-8447-DF1B8C5FD193}" presName="hierChild4" presStyleCnt="0"/>
      <dgm:spPr/>
    </dgm:pt>
    <dgm:pt modelId="{72F3B94E-5E2C-4DF9-BCD5-3D635951032C}" type="pres">
      <dgm:prSet presAssocID="{720AE7B9-47AD-4FF9-8447-DF1B8C5FD193}" presName="hierChild5" presStyleCnt="0"/>
      <dgm:spPr/>
    </dgm:pt>
    <dgm:pt modelId="{A2B3E9C0-0CE1-4B88-9E71-F7CE1A7F99D7}" type="pres">
      <dgm:prSet presAssocID="{14236E25-24F5-4DBC-8E23-FED5A30DEF0E}" presName="Name37" presStyleLbl="parChTrans1D3" presStyleIdx="1" presStyleCnt="13"/>
      <dgm:spPr/>
      <dgm:t>
        <a:bodyPr/>
        <a:lstStyle/>
        <a:p>
          <a:endParaRPr lang="en-US"/>
        </a:p>
      </dgm:t>
    </dgm:pt>
    <dgm:pt modelId="{16797127-63BB-4E8C-8005-5E72B3FF9B3C}" type="pres">
      <dgm:prSet presAssocID="{7D7C3FA2-CE75-4B7D-A218-416906B8D917}" presName="hierRoot2" presStyleCnt="0">
        <dgm:presLayoutVars>
          <dgm:hierBranch val="init"/>
        </dgm:presLayoutVars>
      </dgm:prSet>
      <dgm:spPr/>
    </dgm:pt>
    <dgm:pt modelId="{4DFEF789-40AF-4966-81EA-F7C1CBE52773}" type="pres">
      <dgm:prSet presAssocID="{7D7C3FA2-CE75-4B7D-A218-416906B8D917}" presName="rootComposite" presStyleCnt="0"/>
      <dgm:spPr/>
    </dgm:pt>
    <dgm:pt modelId="{A77E27D0-EFD7-495B-9E1A-5A5371B8AB84}" type="pres">
      <dgm:prSet presAssocID="{7D7C3FA2-CE75-4B7D-A218-416906B8D917}" presName="rootText" presStyleLbl="node3" presStyleIdx="1" presStyleCnt="13" custLinFactX="-7069" custLinFactNeighborX="-100000" custLinFactNeighborY="8879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3F8734B-291F-4EE9-8AEC-5D7130065FE8}" type="pres">
      <dgm:prSet presAssocID="{7D7C3FA2-CE75-4B7D-A218-416906B8D917}" presName="rootConnector" presStyleLbl="node3" presStyleIdx="1" presStyleCnt="13"/>
      <dgm:spPr/>
      <dgm:t>
        <a:bodyPr/>
        <a:lstStyle/>
        <a:p>
          <a:endParaRPr lang="en-US"/>
        </a:p>
      </dgm:t>
    </dgm:pt>
    <dgm:pt modelId="{F1241E53-1837-4666-9A60-B6AD42958195}" type="pres">
      <dgm:prSet presAssocID="{7D7C3FA2-CE75-4B7D-A218-416906B8D917}" presName="hierChild4" presStyleCnt="0"/>
      <dgm:spPr/>
    </dgm:pt>
    <dgm:pt modelId="{E1079AD2-0C8E-44F0-9596-6D504E6161CE}" type="pres">
      <dgm:prSet presAssocID="{7D7C3FA2-CE75-4B7D-A218-416906B8D917}" presName="hierChild5" presStyleCnt="0"/>
      <dgm:spPr/>
    </dgm:pt>
    <dgm:pt modelId="{50C84909-550F-4BDC-8966-B86E5E1786AE}" type="pres">
      <dgm:prSet presAssocID="{359E2506-5D19-4F9C-8688-C666576175A9}" presName="Name37" presStyleLbl="parChTrans1D3" presStyleIdx="2" presStyleCnt="13"/>
      <dgm:spPr/>
      <dgm:t>
        <a:bodyPr/>
        <a:lstStyle/>
        <a:p>
          <a:endParaRPr lang="en-US"/>
        </a:p>
      </dgm:t>
    </dgm:pt>
    <dgm:pt modelId="{EBCAC25B-3E97-4708-AA7E-0D44E4C06B2C}" type="pres">
      <dgm:prSet presAssocID="{9B931718-FC68-4B2E-9854-492BCFE6FE83}" presName="hierRoot2" presStyleCnt="0">
        <dgm:presLayoutVars>
          <dgm:hierBranch val="init"/>
        </dgm:presLayoutVars>
      </dgm:prSet>
      <dgm:spPr/>
    </dgm:pt>
    <dgm:pt modelId="{56A22D43-7DD1-46E6-B06A-D1D662EE6DAD}" type="pres">
      <dgm:prSet presAssocID="{9B931718-FC68-4B2E-9854-492BCFE6FE83}" presName="rootComposite" presStyleCnt="0"/>
      <dgm:spPr/>
    </dgm:pt>
    <dgm:pt modelId="{984A4F3B-0A00-4E5A-9092-1922B8A7FAB3}" type="pres">
      <dgm:prSet presAssocID="{9B931718-FC68-4B2E-9854-492BCFE6FE83}" presName="rootText" presStyleLbl="node3" presStyleIdx="2" presStyleCnt="13" custLinFactX="-7069" custLinFactNeighborX="-100000" custLinFactNeighborY="9418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00B55C8-272E-490B-AB5F-A5C6369E8C79}" type="pres">
      <dgm:prSet presAssocID="{9B931718-FC68-4B2E-9854-492BCFE6FE83}" presName="rootConnector" presStyleLbl="node3" presStyleIdx="2" presStyleCnt="13"/>
      <dgm:spPr/>
      <dgm:t>
        <a:bodyPr/>
        <a:lstStyle/>
        <a:p>
          <a:endParaRPr lang="en-US"/>
        </a:p>
      </dgm:t>
    </dgm:pt>
    <dgm:pt modelId="{18D6C1B6-F902-4ABE-BB60-086B907C1C3A}" type="pres">
      <dgm:prSet presAssocID="{9B931718-FC68-4B2E-9854-492BCFE6FE83}" presName="hierChild4" presStyleCnt="0"/>
      <dgm:spPr/>
    </dgm:pt>
    <dgm:pt modelId="{4E3F742A-A2F5-4971-A026-90DA3CFE956C}" type="pres">
      <dgm:prSet presAssocID="{9B931718-FC68-4B2E-9854-492BCFE6FE83}" presName="hierChild5" presStyleCnt="0"/>
      <dgm:spPr/>
    </dgm:pt>
    <dgm:pt modelId="{CF00A05E-81E0-4C4F-9FC9-0B1D7BC7DE00}" type="pres">
      <dgm:prSet presAssocID="{55D0A0DD-88B0-4C7C-A785-02AC2DD8AEFB}" presName="Name37" presStyleLbl="parChTrans1D3" presStyleIdx="3" presStyleCnt="13"/>
      <dgm:spPr/>
      <dgm:t>
        <a:bodyPr/>
        <a:lstStyle/>
        <a:p>
          <a:endParaRPr lang="en-US"/>
        </a:p>
      </dgm:t>
    </dgm:pt>
    <dgm:pt modelId="{A00A133F-9C71-422B-B8D5-E1805943DC75}" type="pres">
      <dgm:prSet presAssocID="{E137C9BD-EE5B-476B-B7BA-BA0D9370FCFA}" presName="hierRoot2" presStyleCnt="0">
        <dgm:presLayoutVars>
          <dgm:hierBranch val="init"/>
        </dgm:presLayoutVars>
      </dgm:prSet>
      <dgm:spPr/>
    </dgm:pt>
    <dgm:pt modelId="{B2A302CD-478F-47E1-BBE5-EDCA7054BF9D}" type="pres">
      <dgm:prSet presAssocID="{E137C9BD-EE5B-476B-B7BA-BA0D9370FCFA}" presName="rootComposite" presStyleCnt="0"/>
      <dgm:spPr/>
    </dgm:pt>
    <dgm:pt modelId="{BA6AC4DB-0F64-47C4-8289-FB0923B8558A}" type="pres">
      <dgm:prSet presAssocID="{E137C9BD-EE5B-476B-B7BA-BA0D9370FCFA}" presName="rootText" presStyleLbl="node3" presStyleIdx="3" presStyleCnt="13" custScaleX="152007" custLinFactX="-14438" custLinFactY="14315" custLinFactNeighborX="-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D1BB766-10EA-42C1-95FD-C81A7C8A7741}" type="pres">
      <dgm:prSet presAssocID="{E137C9BD-EE5B-476B-B7BA-BA0D9370FCFA}" presName="rootConnector" presStyleLbl="node3" presStyleIdx="3" presStyleCnt="13"/>
      <dgm:spPr/>
      <dgm:t>
        <a:bodyPr/>
        <a:lstStyle/>
        <a:p>
          <a:endParaRPr lang="en-US"/>
        </a:p>
      </dgm:t>
    </dgm:pt>
    <dgm:pt modelId="{C0EE058C-ACBB-444C-AC89-E22EE759A819}" type="pres">
      <dgm:prSet presAssocID="{E137C9BD-EE5B-476B-B7BA-BA0D9370FCFA}" presName="hierChild4" presStyleCnt="0"/>
      <dgm:spPr/>
    </dgm:pt>
    <dgm:pt modelId="{87AEEA8C-77A3-4494-BB33-3FA6A927D4FE}" type="pres">
      <dgm:prSet presAssocID="{E137C9BD-EE5B-476B-B7BA-BA0D9370FCFA}" presName="hierChild5" presStyleCnt="0"/>
      <dgm:spPr/>
    </dgm:pt>
    <dgm:pt modelId="{82355405-192E-42E7-B905-7A6FE845C6D9}" type="pres">
      <dgm:prSet presAssocID="{843E3B21-DC9F-4CF8-A7F1-93BF704E47A7}" presName="hierChild5" presStyleCnt="0"/>
      <dgm:spPr/>
    </dgm:pt>
    <dgm:pt modelId="{96956835-3386-449C-A89B-65F7C680246D}" type="pres">
      <dgm:prSet presAssocID="{65D088B7-B36E-49AA-84B9-2BC51B326EA1}" presName="Name37" presStyleLbl="parChTrans1D2" presStyleIdx="1" presStyleCnt="3"/>
      <dgm:spPr/>
      <dgm:t>
        <a:bodyPr/>
        <a:lstStyle/>
        <a:p>
          <a:endParaRPr lang="en-US"/>
        </a:p>
      </dgm:t>
    </dgm:pt>
    <dgm:pt modelId="{DBD72DFC-EF80-4973-B6E5-D3C9AB052F9E}" type="pres">
      <dgm:prSet presAssocID="{E420C67E-C4C2-476B-9B47-FFB47D587009}" presName="hierRoot2" presStyleCnt="0">
        <dgm:presLayoutVars>
          <dgm:hierBranch val="init"/>
        </dgm:presLayoutVars>
      </dgm:prSet>
      <dgm:spPr/>
    </dgm:pt>
    <dgm:pt modelId="{72B31F8C-4060-4D82-8D0A-8A332812C464}" type="pres">
      <dgm:prSet presAssocID="{E420C67E-C4C2-476B-9B47-FFB47D587009}" presName="rootComposite" presStyleCnt="0"/>
      <dgm:spPr/>
    </dgm:pt>
    <dgm:pt modelId="{F0ED6141-24DB-4164-A2D4-B51E750525CD}" type="pres">
      <dgm:prSet presAssocID="{E420C67E-C4C2-476B-9B47-FFB47D587009}" presName="rootText" presStyleLbl="node2" presStyleIdx="1" presStyleCnt="3" custScaleX="223720" custScaleY="70522" custLinFactNeighborX="-166" custLinFactNeighborY="6572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5256018-C335-4CDB-9EC5-7AE2ABAC1E00}" type="pres">
      <dgm:prSet presAssocID="{E420C67E-C4C2-476B-9B47-FFB47D587009}" presName="rootConnector" presStyleLbl="node2" presStyleIdx="1" presStyleCnt="3"/>
      <dgm:spPr/>
      <dgm:t>
        <a:bodyPr/>
        <a:lstStyle/>
        <a:p>
          <a:endParaRPr lang="en-US"/>
        </a:p>
      </dgm:t>
    </dgm:pt>
    <dgm:pt modelId="{2A7D3334-4741-4667-BCDB-1A78491B4FD4}" type="pres">
      <dgm:prSet presAssocID="{E420C67E-C4C2-476B-9B47-FFB47D587009}" presName="hierChild4" presStyleCnt="0"/>
      <dgm:spPr/>
    </dgm:pt>
    <dgm:pt modelId="{CC07306D-4BD7-4477-BB61-A954489058D6}" type="pres">
      <dgm:prSet presAssocID="{C3334397-F4C9-43FD-9DE7-786437A51BF8}" presName="Name37" presStyleLbl="parChTrans1D3" presStyleIdx="4" presStyleCnt="13"/>
      <dgm:spPr/>
      <dgm:t>
        <a:bodyPr/>
        <a:lstStyle/>
        <a:p>
          <a:endParaRPr lang="en-US"/>
        </a:p>
      </dgm:t>
    </dgm:pt>
    <dgm:pt modelId="{0ECB6EE9-64D7-46FB-8A0A-B83CD370F0B4}" type="pres">
      <dgm:prSet presAssocID="{0216D3CF-84E5-4443-8082-6C6C297E9A4D}" presName="hierRoot2" presStyleCnt="0">
        <dgm:presLayoutVars>
          <dgm:hierBranch val="init"/>
        </dgm:presLayoutVars>
      </dgm:prSet>
      <dgm:spPr/>
    </dgm:pt>
    <dgm:pt modelId="{9D96850F-E3A0-4435-B942-5F48B18AC5F4}" type="pres">
      <dgm:prSet presAssocID="{0216D3CF-84E5-4443-8082-6C6C297E9A4D}" presName="rootComposite" presStyleCnt="0"/>
      <dgm:spPr/>
    </dgm:pt>
    <dgm:pt modelId="{CBCDE87F-FA6C-44B8-A9C2-1E747BE7F736}" type="pres">
      <dgm:prSet presAssocID="{0216D3CF-84E5-4443-8082-6C6C297E9A4D}" presName="rootText" presStyleLbl="node3" presStyleIdx="4" presStyleCnt="13" custScaleX="124077" custLinFactNeighborY="7428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F9F174C-7D69-49F6-A7FE-7ED9990EB82A}" type="pres">
      <dgm:prSet presAssocID="{0216D3CF-84E5-4443-8082-6C6C297E9A4D}" presName="rootConnector" presStyleLbl="node3" presStyleIdx="4" presStyleCnt="13"/>
      <dgm:spPr/>
      <dgm:t>
        <a:bodyPr/>
        <a:lstStyle/>
        <a:p>
          <a:endParaRPr lang="en-US"/>
        </a:p>
      </dgm:t>
    </dgm:pt>
    <dgm:pt modelId="{1934090D-CBAE-4AB8-9BE7-C9762145998D}" type="pres">
      <dgm:prSet presAssocID="{0216D3CF-84E5-4443-8082-6C6C297E9A4D}" presName="hierChild4" presStyleCnt="0"/>
      <dgm:spPr/>
    </dgm:pt>
    <dgm:pt modelId="{7BCCCAFF-8404-460B-9A5A-B8BF91057993}" type="pres">
      <dgm:prSet presAssocID="{0216D3CF-84E5-4443-8082-6C6C297E9A4D}" presName="hierChild5" presStyleCnt="0"/>
      <dgm:spPr/>
    </dgm:pt>
    <dgm:pt modelId="{FE10A4AF-D8A8-4F2D-9661-56E5DBB5B2C5}" type="pres">
      <dgm:prSet presAssocID="{62301F5E-BDD5-4369-B9CF-5999FECA1C85}" presName="Name37" presStyleLbl="parChTrans1D3" presStyleIdx="5" presStyleCnt="13"/>
      <dgm:spPr/>
      <dgm:t>
        <a:bodyPr/>
        <a:lstStyle/>
        <a:p>
          <a:endParaRPr lang="en-US"/>
        </a:p>
      </dgm:t>
    </dgm:pt>
    <dgm:pt modelId="{6E36B90A-357D-4409-934D-6F40EC568AE0}" type="pres">
      <dgm:prSet presAssocID="{90833815-F732-45AF-B735-7A208BE16A8A}" presName="hierRoot2" presStyleCnt="0">
        <dgm:presLayoutVars>
          <dgm:hierBranch val="init"/>
        </dgm:presLayoutVars>
      </dgm:prSet>
      <dgm:spPr/>
    </dgm:pt>
    <dgm:pt modelId="{AB55976F-0A75-48BF-8621-9232364F260E}" type="pres">
      <dgm:prSet presAssocID="{90833815-F732-45AF-B735-7A208BE16A8A}" presName="rootComposite" presStyleCnt="0"/>
      <dgm:spPr/>
    </dgm:pt>
    <dgm:pt modelId="{5D0F02D1-4A23-4B53-AF4F-3529BE69829E}" type="pres">
      <dgm:prSet presAssocID="{90833815-F732-45AF-B735-7A208BE16A8A}" presName="rootText" presStyleLbl="node3" presStyleIdx="5" presStyleCnt="13" custScaleX="177632" custLinFactNeighborY="9441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FF15CAA-9BF1-4437-B877-2B6831555847}" type="pres">
      <dgm:prSet presAssocID="{90833815-F732-45AF-B735-7A208BE16A8A}" presName="rootConnector" presStyleLbl="node3" presStyleIdx="5" presStyleCnt="13"/>
      <dgm:spPr/>
      <dgm:t>
        <a:bodyPr/>
        <a:lstStyle/>
        <a:p>
          <a:endParaRPr lang="en-US"/>
        </a:p>
      </dgm:t>
    </dgm:pt>
    <dgm:pt modelId="{8EE5665B-F21D-4DA6-A444-6C77DD3C6F95}" type="pres">
      <dgm:prSet presAssocID="{90833815-F732-45AF-B735-7A208BE16A8A}" presName="hierChild4" presStyleCnt="0"/>
      <dgm:spPr/>
    </dgm:pt>
    <dgm:pt modelId="{F1F43870-C4AC-4AF4-AB05-6A054FC06D63}" type="pres">
      <dgm:prSet presAssocID="{90833815-F732-45AF-B735-7A208BE16A8A}" presName="hierChild5" presStyleCnt="0"/>
      <dgm:spPr/>
    </dgm:pt>
    <dgm:pt modelId="{1D4D3FE4-1739-4B3C-ACD2-597D18FBC50F}" type="pres">
      <dgm:prSet presAssocID="{453F9760-1876-428B-8CB6-DA8F60516D89}" presName="Name37" presStyleLbl="parChTrans1D3" presStyleIdx="6" presStyleCnt="13"/>
      <dgm:spPr/>
      <dgm:t>
        <a:bodyPr/>
        <a:lstStyle/>
        <a:p>
          <a:endParaRPr lang="en-US"/>
        </a:p>
      </dgm:t>
    </dgm:pt>
    <dgm:pt modelId="{9115B6B6-EA79-4FE0-843B-D82CDE234246}" type="pres">
      <dgm:prSet presAssocID="{2F6572D1-3E4E-41CC-B816-15F6AA753750}" presName="hierRoot2" presStyleCnt="0">
        <dgm:presLayoutVars>
          <dgm:hierBranch val="init"/>
        </dgm:presLayoutVars>
      </dgm:prSet>
      <dgm:spPr/>
    </dgm:pt>
    <dgm:pt modelId="{B54B6D9A-0CB7-42FF-A0FD-F2137F2080D7}" type="pres">
      <dgm:prSet presAssocID="{2F6572D1-3E4E-41CC-B816-15F6AA753750}" presName="rootComposite" presStyleCnt="0"/>
      <dgm:spPr/>
    </dgm:pt>
    <dgm:pt modelId="{7BABB840-5689-4566-85C9-55C4A127C4C6}" type="pres">
      <dgm:prSet presAssocID="{2F6572D1-3E4E-41CC-B816-15F6AA753750}" presName="rootText" presStyleLbl="node3" presStyleIdx="6" presStyleCnt="13" custScaleX="186970" custScaleY="152229" custLinFactY="6537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3C99CCA-0A47-4420-ABC8-53654C0C3796}" type="pres">
      <dgm:prSet presAssocID="{2F6572D1-3E4E-41CC-B816-15F6AA753750}" presName="rootConnector" presStyleLbl="node3" presStyleIdx="6" presStyleCnt="13"/>
      <dgm:spPr/>
      <dgm:t>
        <a:bodyPr/>
        <a:lstStyle/>
        <a:p>
          <a:endParaRPr lang="en-US"/>
        </a:p>
      </dgm:t>
    </dgm:pt>
    <dgm:pt modelId="{0D889D42-77FB-49A7-B6E8-3A8C670AFEAD}" type="pres">
      <dgm:prSet presAssocID="{2F6572D1-3E4E-41CC-B816-15F6AA753750}" presName="hierChild4" presStyleCnt="0"/>
      <dgm:spPr/>
    </dgm:pt>
    <dgm:pt modelId="{6BE4F57E-EC21-4523-B1EB-3AEDD24C4D44}" type="pres">
      <dgm:prSet presAssocID="{2F6572D1-3E4E-41CC-B816-15F6AA753750}" presName="hierChild5" presStyleCnt="0"/>
      <dgm:spPr/>
    </dgm:pt>
    <dgm:pt modelId="{3A94D9E8-C2A3-4765-9477-D710CC646957}" type="pres">
      <dgm:prSet presAssocID="{6C5C9B86-7AAA-465B-98FF-E3F38189A3AE}" presName="Name37" presStyleLbl="parChTrans1D3" presStyleIdx="7" presStyleCnt="13"/>
      <dgm:spPr/>
      <dgm:t>
        <a:bodyPr/>
        <a:lstStyle/>
        <a:p>
          <a:endParaRPr lang="en-US"/>
        </a:p>
      </dgm:t>
    </dgm:pt>
    <dgm:pt modelId="{2EAD44A1-134B-439B-87EC-257234921AE5}" type="pres">
      <dgm:prSet presAssocID="{CFEBB133-5D80-4E9D-815E-BA7E2B5804D2}" presName="hierRoot2" presStyleCnt="0">
        <dgm:presLayoutVars>
          <dgm:hierBranch val="init"/>
        </dgm:presLayoutVars>
      </dgm:prSet>
      <dgm:spPr/>
    </dgm:pt>
    <dgm:pt modelId="{2FB73BF3-3C5D-4AD3-9D1C-8A589100FCB7}" type="pres">
      <dgm:prSet presAssocID="{CFEBB133-5D80-4E9D-815E-BA7E2B5804D2}" presName="rootComposite" presStyleCnt="0"/>
      <dgm:spPr/>
    </dgm:pt>
    <dgm:pt modelId="{50D60845-A14B-4DD0-8DB4-8B07FEB31A21}" type="pres">
      <dgm:prSet presAssocID="{CFEBB133-5D80-4E9D-815E-BA7E2B5804D2}" presName="rootText" presStyleLbl="node3" presStyleIdx="7" presStyleCnt="13" custScaleX="193989" custLinFactY="11928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5C39B9-C17D-4782-B68D-D9F73AAEE095}" type="pres">
      <dgm:prSet presAssocID="{CFEBB133-5D80-4E9D-815E-BA7E2B5804D2}" presName="rootConnector" presStyleLbl="node3" presStyleIdx="7" presStyleCnt="13"/>
      <dgm:spPr/>
      <dgm:t>
        <a:bodyPr/>
        <a:lstStyle/>
        <a:p>
          <a:endParaRPr lang="en-US"/>
        </a:p>
      </dgm:t>
    </dgm:pt>
    <dgm:pt modelId="{FE161E8F-9C2C-4330-91D6-9E6A7C6F19FB}" type="pres">
      <dgm:prSet presAssocID="{CFEBB133-5D80-4E9D-815E-BA7E2B5804D2}" presName="hierChild4" presStyleCnt="0"/>
      <dgm:spPr/>
    </dgm:pt>
    <dgm:pt modelId="{DCFA5C64-38E4-453B-BB1F-AE8ADB7F8B50}" type="pres">
      <dgm:prSet presAssocID="{CFEBB133-5D80-4E9D-815E-BA7E2B5804D2}" presName="hierChild5" presStyleCnt="0"/>
      <dgm:spPr/>
    </dgm:pt>
    <dgm:pt modelId="{1DBB8D6B-1EA9-448A-B87B-A162873E7B21}" type="pres">
      <dgm:prSet presAssocID="{E420C67E-C4C2-476B-9B47-FFB47D587009}" presName="hierChild5" presStyleCnt="0"/>
      <dgm:spPr/>
    </dgm:pt>
    <dgm:pt modelId="{C137CAE9-66E1-459B-A733-9B53B02E07AF}" type="pres">
      <dgm:prSet presAssocID="{6ED4E1AA-EFDD-4E70-836E-3DB36084DE98}" presName="Name37" presStyleLbl="parChTrans1D2" presStyleIdx="2" presStyleCnt="3"/>
      <dgm:spPr/>
      <dgm:t>
        <a:bodyPr/>
        <a:lstStyle/>
        <a:p>
          <a:endParaRPr lang="en-US"/>
        </a:p>
      </dgm:t>
    </dgm:pt>
    <dgm:pt modelId="{35CBA655-D40F-4A2B-B71A-711D392B5A84}" type="pres">
      <dgm:prSet presAssocID="{1CE2D78B-C788-472A-8424-7F9A4AB5205E}" presName="hierRoot2" presStyleCnt="0">
        <dgm:presLayoutVars>
          <dgm:hierBranch val="init"/>
        </dgm:presLayoutVars>
      </dgm:prSet>
      <dgm:spPr/>
    </dgm:pt>
    <dgm:pt modelId="{9DC86AED-B6DB-4100-9EA0-4E60FFB4A367}" type="pres">
      <dgm:prSet presAssocID="{1CE2D78B-C788-472A-8424-7F9A4AB5205E}" presName="rootComposite" presStyleCnt="0"/>
      <dgm:spPr/>
    </dgm:pt>
    <dgm:pt modelId="{A5F2589C-C16C-45F2-9A3D-F2A6CB2476D1}" type="pres">
      <dgm:prSet presAssocID="{1CE2D78B-C788-472A-8424-7F9A4AB5205E}" presName="rootText" presStyleLbl="node2" presStyleIdx="2" presStyleCnt="3" custScaleX="116568" custLinFactNeighborX="82633" custLinFactNeighborY="5415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7B6648-0B7F-4E1F-B6C5-CE0E2F04B9FF}" type="pres">
      <dgm:prSet presAssocID="{1CE2D78B-C788-472A-8424-7F9A4AB5205E}" presName="rootConnector" presStyleLbl="node2" presStyleIdx="2" presStyleCnt="3"/>
      <dgm:spPr/>
      <dgm:t>
        <a:bodyPr/>
        <a:lstStyle/>
        <a:p>
          <a:endParaRPr lang="en-US"/>
        </a:p>
      </dgm:t>
    </dgm:pt>
    <dgm:pt modelId="{29CE8073-D253-4588-B954-7167D33B1947}" type="pres">
      <dgm:prSet presAssocID="{1CE2D78B-C788-472A-8424-7F9A4AB5205E}" presName="hierChild4" presStyleCnt="0"/>
      <dgm:spPr/>
    </dgm:pt>
    <dgm:pt modelId="{AEDC7120-FE6F-49D8-95F2-AB1B2B6AC9A8}" type="pres">
      <dgm:prSet presAssocID="{F0BD47AB-7AC9-40A2-A96D-1A911EFDE7FF}" presName="Name37" presStyleLbl="parChTrans1D3" presStyleIdx="8" presStyleCnt="13"/>
      <dgm:spPr/>
      <dgm:t>
        <a:bodyPr/>
        <a:lstStyle/>
        <a:p>
          <a:endParaRPr lang="en-US"/>
        </a:p>
      </dgm:t>
    </dgm:pt>
    <dgm:pt modelId="{F65159AB-B6AE-4C58-BE85-DB4966F15FBA}" type="pres">
      <dgm:prSet presAssocID="{A240A1E1-162D-4A6E-A806-B6FF45B3AB68}" presName="hierRoot2" presStyleCnt="0">
        <dgm:presLayoutVars>
          <dgm:hierBranch val="init"/>
        </dgm:presLayoutVars>
      </dgm:prSet>
      <dgm:spPr/>
    </dgm:pt>
    <dgm:pt modelId="{4413A7CD-B07B-4481-95F7-63264BEB8326}" type="pres">
      <dgm:prSet presAssocID="{A240A1E1-162D-4A6E-A806-B6FF45B3AB68}" presName="rootComposite" presStyleCnt="0"/>
      <dgm:spPr/>
    </dgm:pt>
    <dgm:pt modelId="{6E033C69-6BA8-4812-AE4E-0022A986E944}" type="pres">
      <dgm:prSet presAssocID="{A240A1E1-162D-4A6E-A806-B6FF45B3AB68}" presName="rootText" presStyleLbl="node3" presStyleIdx="8" presStyleCnt="13" custLinFactX="62382" custLinFactNeighborX="100000" custLinFactNeighborY="3758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C564F4-BF5C-4321-B86B-65391CEDEFC7}" type="pres">
      <dgm:prSet presAssocID="{A240A1E1-162D-4A6E-A806-B6FF45B3AB68}" presName="rootConnector" presStyleLbl="node3" presStyleIdx="8" presStyleCnt="13"/>
      <dgm:spPr/>
      <dgm:t>
        <a:bodyPr/>
        <a:lstStyle/>
        <a:p>
          <a:endParaRPr lang="en-US"/>
        </a:p>
      </dgm:t>
    </dgm:pt>
    <dgm:pt modelId="{7C0A51FE-5187-4FBA-A9F6-DFFAA1B3DD3E}" type="pres">
      <dgm:prSet presAssocID="{A240A1E1-162D-4A6E-A806-B6FF45B3AB68}" presName="hierChild4" presStyleCnt="0"/>
      <dgm:spPr/>
    </dgm:pt>
    <dgm:pt modelId="{A5F1F6CB-B812-4FEA-ACD0-E838992C8274}" type="pres">
      <dgm:prSet presAssocID="{A240A1E1-162D-4A6E-A806-B6FF45B3AB68}" presName="hierChild5" presStyleCnt="0"/>
      <dgm:spPr/>
    </dgm:pt>
    <dgm:pt modelId="{28E82B1A-B1F2-4CC5-9B64-B60015CBF624}" type="pres">
      <dgm:prSet presAssocID="{A60BCA66-49BB-4275-9110-8B471B3FC59B}" presName="Name37" presStyleLbl="parChTrans1D3" presStyleIdx="9" presStyleCnt="13"/>
      <dgm:spPr/>
      <dgm:t>
        <a:bodyPr/>
        <a:lstStyle/>
        <a:p>
          <a:endParaRPr lang="en-US"/>
        </a:p>
      </dgm:t>
    </dgm:pt>
    <dgm:pt modelId="{B22DAA2B-22C5-4EFA-A0A6-9AD0235D2103}" type="pres">
      <dgm:prSet presAssocID="{35016019-1F0E-47A9-A9CB-AE98C0AFCFC1}" presName="hierRoot2" presStyleCnt="0">
        <dgm:presLayoutVars>
          <dgm:hierBranch val="init"/>
        </dgm:presLayoutVars>
      </dgm:prSet>
      <dgm:spPr/>
    </dgm:pt>
    <dgm:pt modelId="{514CA667-AA27-4D37-9311-1D5D85EF643D}" type="pres">
      <dgm:prSet presAssocID="{35016019-1F0E-47A9-A9CB-AE98C0AFCFC1}" presName="rootComposite" presStyleCnt="0"/>
      <dgm:spPr/>
    </dgm:pt>
    <dgm:pt modelId="{428A54D9-43F6-47B6-B3A2-FDCE09CB5A97}" type="pres">
      <dgm:prSet presAssocID="{35016019-1F0E-47A9-A9CB-AE98C0AFCFC1}" presName="rootText" presStyleLbl="node3" presStyleIdx="9" presStyleCnt="13" custScaleX="131164" custLinFactX="34840" custLinFactNeighborX="100000" custLinFactNeighborY="3523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1DAB6FE-4097-4695-9397-7DCCE262634B}" type="pres">
      <dgm:prSet presAssocID="{35016019-1F0E-47A9-A9CB-AE98C0AFCFC1}" presName="rootConnector" presStyleLbl="node3" presStyleIdx="9" presStyleCnt="13"/>
      <dgm:spPr/>
      <dgm:t>
        <a:bodyPr/>
        <a:lstStyle/>
        <a:p>
          <a:endParaRPr lang="en-US"/>
        </a:p>
      </dgm:t>
    </dgm:pt>
    <dgm:pt modelId="{F4CC167B-F2F2-455C-9A45-823F18AFEF9A}" type="pres">
      <dgm:prSet presAssocID="{35016019-1F0E-47A9-A9CB-AE98C0AFCFC1}" presName="hierChild4" presStyleCnt="0"/>
      <dgm:spPr/>
    </dgm:pt>
    <dgm:pt modelId="{A5D0575B-48E0-4A98-88E8-8B4961A6F762}" type="pres">
      <dgm:prSet presAssocID="{35016019-1F0E-47A9-A9CB-AE98C0AFCFC1}" presName="hierChild5" presStyleCnt="0"/>
      <dgm:spPr/>
    </dgm:pt>
    <dgm:pt modelId="{11628582-088E-42FA-B6EC-953F652565B0}" type="pres">
      <dgm:prSet presAssocID="{9275B05E-F520-4192-9B33-84AEEBC3F62D}" presName="Name37" presStyleLbl="parChTrans1D3" presStyleIdx="10" presStyleCnt="13"/>
      <dgm:spPr/>
      <dgm:t>
        <a:bodyPr/>
        <a:lstStyle/>
        <a:p>
          <a:endParaRPr lang="en-US"/>
        </a:p>
      </dgm:t>
    </dgm:pt>
    <dgm:pt modelId="{7E6CA653-D7FD-4B20-AE44-C1F44E30C01B}" type="pres">
      <dgm:prSet presAssocID="{49742260-F14F-4BCB-8D88-ADD2EB5024EC}" presName="hierRoot2" presStyleCnt="0">
        <dgm:presLayoutVars>
          <dgm:hierBranch val="init"/>
        </dgm:presLayoutVars>
      </dgm:prSet>
      <dgm:spPr/>
    </dgm:pt>
    <dgm:pt modelId="{E179F35A-A640-480A-9C40-3D39813B5DA3}" type="pres">
      <dgm:prSet presAssocID="{49742260-F14F-4BCB-8D88-ADD2EB5024EC}" presName="rootComposite" presStyleCnt="0"/>
      <dgm:spPr/>
    </dgm:pt>
    <dgm:pt modelId="{93507A0E-B606-4F7A-9C01-283769128FF2}" type="pres">
      <dgm:prSet presAssocID="{49742260-F14F-4BCB-8D88-ADD2EB5024EC}" presName="rootText" presStyleLbl="node3" presStyleIdx="10" presStyleCnt="13" custScaleX="122565" custLinFactX="43439" custLinFactNeighborX="100000" custLinFactNeighborY="261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A7ED8CE-14CF-4D38-BE63-D19E93618025}" type="pres">
      <dgm:prSet presAssocID="{49742260-F14F-4BCB-8D88-ADD2EB5024EC}" presName="rootConnector" presStyleLbl="node3" presStyleIdx="10" presStyleCnt="13"/>
      <dgm:spPr/>
      <dgm:t>
        <a:bodyPr/>
        <a:lstStyle/>
        <a:p>
          <a:endParaRPr lang="en-US"/>
        </a:p>
      </dgm:t>
    </dgm:pt>
    <dgm:pt modelId="{D06BFE77-47E2-4E99-9240-F26F88BFBEAB}" type="pres">
      <dgm:prSet presAssocID="{49742260-F14F-4BCB-8D88-ADD2EB5024EC}" presName="hierChild4" presStyleCnt="0"/>
      <dgm:spPr/>
    </dgm:pt>
    <dgm:pt modelId="{801CA00E-B2B0-4EC5-9889-E9E28C332373}" type="pres">
      <dgm:prSet presAssocID="{49742260-F14F-4BCB-8D88-ADD2EB5024EC}" presName="hierChild5" presStyleCnt="0"/>
      <dgm:spPr/>
    </dgm:pt>
    <dgm:pt modelId="{490CA387-8BDE-4005-BE6C-725A759AE03C}" type="pres">
      <dgm:prSet presAssocID="{8347F65C-462B-45FD-9066-355B95EA2540}" presName="Name37" presStyleLbl="parChTrans1D3" presStyleIdx="11" presStyleCnt="13"/>
      <dgm:spPr/>
      <dgm:t>
        <a:bodyPr/>
        <a:lstStyle/>
        <a:p>
          <a:endParaRPr lang="en-US"/>
        </a:p>
      </dgm:t>
    </dgm:pt>
    <dgm:pt modelId="{8EBF3569-414C-444A-82F4-1E2AB8C1CF12}" type="pres">
      <dgm:prSet presAssocID="{06D97C9C-573D-4522-BCEF-4077A5734816}" presName="hierRoot2" presStyleCnt="0">
        <dgm:presLayoutVars>
          <dgm:hierBranch val="init"/>
        </dgm:presLayoutVars>
      </dgm:prSet>
      <dgm:spPr/>
    </dgm:pt>
    <dgm:pt modelId="{0758B0AD-A70D-49C4-B2F5-910D47263F30}" type="pres">
      <dgm:prSet presAssocID="{06D97C9C-573D-4522-BCEF-4077A5734816}" presName="rootComposite" presStyleCnt="0"/>
      <dgm:spPr/>
    </dgm:pt>
    <dgm:pt modelId="{0B051ACB-AD4B-44A0-B203-A3F060DC178D}" type="pres">
      <dgm:prSet presAssocID="{06D97C9C-573D-4522-BCEF-4077A5734816}" presName="rootText" presStyleLbl="node3" presStyleIdx="11" presStyleCnt="13" custScaleX="123338" custLinFactX="42666" custLinFactNeighborX="100000" custLinFactNeighborY="1657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67A6B0F-1874-4E90-8E08-3C8CB91FF5C1}" type="pres">
      <dgm:prSet presAssocID="{06D97C9C-573D-4522-BCEF-4077A5734816}" presName="rootConnector" presStyleLbl="node3" presStyleIdx="11" presStyleCnt="13"/>
      <dgm:spPr/>
      <dgm:t>
        <a:bodyPr/>
        <a:lstStyle/>
        <a:p>
          <a:endParaRPr lang="en-US"/>
        </a:p>
      </dgm:t>
    </dgm:pt>
    <dgm:pt modelId="{30128455-4856-4832-905F-9B5029ADCF77}" type="pres">
      <dgm:prSet presAssocID="{06D97C9C-573D-4522-BCEF-4077A5734816}" presName="hierChild4" presStyleCnt="0"/>
      <dgm:spPr/>
    </dgm:pt>
    <dgm:pt modelId="{B907855F-F851-4F88-96F5-8136C893BD47}" type="pres">
      <dgm:prSet presAssocID="{06D97C9C-573D-4522-BCEF-4077A5734816}" presName="hierChild5" presStyleCnt="0"/>
      <dgm:spPr/>
    </dgm:pt>
    <dgm:pt modelId="{F6DF7D20-97CE-45B5-8272-1D8DFBF4322E}" type="pres">
      <dgm:prSet presAssocID="{5393009C-F2AE-4FEB-A060-2EF8CA0E315B}" presName="Name37" presStyleLbl="parChTrans1D3" presStyleIdx="12" presStyleCnt="13"/>
      <dgm:spPr/>
      <dgm:t>
        <a:bodyPr/>
        <a:lstStyle/>
        <a:p>
          <a:endParaRPr lang="en-US"/>
        </a:p>
      </dgm:t>
    </dgm:pt>
    <dgm:pt modelId="{33DF2477-EB85-4B7E-BFD1-431DD797052F}" type="pres">
      <dgm:prSet presAssocID="{73A0098F-31D8-453C-84FD-0E0CD7A87527}" presName="hierRoot2" presStyleCnt="0">
        <dgm:presLayoutVars>
          <dgm:hierBranch val="init"/>
        </dgm:presLayoutVars>
      </dgm:prSet>
      <dgm:spPr/>
    </dgm:pt>
    <dgm:pt modelId="{981C2610-43E5-46F5-91D9-212743DD34A5}" type="pres">
      <dgm:prSet presAssocID="{73A0098F-31D8-453C-84FD-0E0CD7A87527}" presName="rootComposite" presStyleCnt="0"/>
      <dgm:spPr/>
    </dgm:pt>
    <dgm:pt modelId="{B48C34C0-3268-4BDA-9392-41361EEA60C6}" type="pres">
      <dgm:prSet presAssocID="{73A0098F-31D8-453C-84FD-0E0CD7A87527}" presName="rootText" presStyleLbl="node3" presStyleIdx="12" presStyleCnt="13" custScaleY="151374" custLinFactX="66004" custLinFactNeighborX="100000" custLinFactNeighborY="26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4864036-80FA-4A2E-B84D-CE2A3973B0C9}" type="pres">
      <dgm:prSet presAssocID="{73A0098F-31D8-453C-84FD-0E0CD7A87527}" presName="rootConnector" presStyleLbl="node3" presStyleIdx="12" presStyleCnt="13"/>
      <dgm:spPr/>
      <dgm:t>
        <a:bodyPr/>
        <a:lstStyle/>
        <a:p>
          <a:endParaRPr lang="en-US"/>
        </a:p>
      </dgm:t>
    </dgm:pt>
    <dgm:pt modelId="{7DAFD94E-7849-48EA-9120-080EB3D68BB6}" type="pres">
      <dgm:prSet presAssocID="{73A0098F-31D8-453C-84FD-0E0CD7A87527}" presName="hierChild4" presStyleCnt="0"/>
      <dgm:spPr/>
    </dgm:pt>
    <dgm:pt modelId="{5A546465-A07C-44FA-A3D6-3DB7985C1CD2}" type="pres">
      <dgm:prSet presAssocID="{73A0098F-31D8-453C-84FD-0E0CD7A87527}" presName="hierChild5" presStyleCnt="0"/>
      <dgm:spPr/>
    </dgm:pt>
    <dgm:pt modelId="{528156B2-647C-44D5-ABAD-EBDCDF85B348}" type="pres">
      <dgm:prSet presAssocID="{1CE2D78B-C788-472A-8424-7F9A4AB5205E}" presName="hierChild5" presStyleCnt="0"/>
      <dgm:spPr/>
    </dgm:pt>
    <dgm:pt modelId="{B87F60ED-85BE-4872-BA6E-CDCB9CBDC6A3}" type="pres">
      <dgm:prSet presAssocID="{43BDC9E6-B3ED-4E11-B81F-A36F96CA06AD}" presName="hierChild3" presStyleCnt="0"/>
      <dgm:spPr/>
    </dgm:pt>
  </dgm:ptLst>
  <dgm:cxnLst>
    <dgm:cxn modelId="{C7B12242-93F1-42B1-8149-73B2BE7E9DC0}" srcId="{843E3B21-DC9F-4CF8-A7F1-93BF704E47A7}" destId="{720AE7B9-47AD-4FF9-8447-DF1B8C5FD193}" srcOrd="0" destOrd="0" parTransId="{3722DDF4-26E2-4422-A516-DEEAC3ECF65B}" sibTransId="{D7F902F3-F976-415B-98C3-59057320C539}"/>
    <dgm:cxn modelId="{5AA6402E-A804-49B6-B8FD-B15B33F78990}" type="presOf" srcId="{8347F65C-462B-45FD-9066-355B95EA2540}" destId="{490CA387-8BDE-4005-BE6C-725A759AE03C}" srcOrd="0" destOrd="0" presId="urn:microsoft.com/office/officeart/2005/8/layout/orgChart1"/>
    <dgm:cxn modelId="{BA898420-1B67-4EA9-8C15-DE805C0885A8}" type="presOf" srcId="{9275B05E-F520-4192-9B33-84AEEBC3F62D}" destId="{11628582-088E-42FA-B6EC-953F652565B0}" srcOrd="0" destOrd="0" presId="urn:microsoft.com/office/officeart/2005/8/layout/orgChart1"/>
    <dgm:cxn modelId="{EF17C288-FABF-470A-9F6E-6F1AC60C08BE}" srcId="{E420C67E-C4C2-476B-9B47-FFB47D587009}" destId="{0216D3CF-84E5-4443-8082-6C6C297E9A4D}" srcOrd="0" destOrd="0" parTransId="{C3334397-F4C9-43FD-9DE7-786437A51BF8}" sibTransId="{9C27E3D0-AEBB-4C4C-AFEA-8F9AF608B21E}"/>
    <dgm:cxn modelId="{89B444F9-36AA-4A77-9087-54457D04C075}" type="presOf" srcId="{6ED4E1AA-EFDD-4E70-836E-3DB36084DE98}" destId="{C137CAE9-66E1-459B-A733-9B53B02E07AF}" srcOrd="0" destOrd="0" presId="urn:microsoft.com/office/officeart/2005/8/layout/orgChart1"/>
    <dgm:cxn modelId="{EBA5F378-E5B4-423E-AB62-127331E4AD30}" type="presOf" srcId="{1CE2D78B-C788-472A-8424-7F9A4AB5205E}" destId="{A5F2589C-C16C-45F2-9A3D-F2A6CB2476D1}" srcOrd="0" destOrd="0" presId="urn:microsoft.com/office/officeart/2005/8/layout/orgChart1"/>
    <dgm:cxn modelId="{D4D1D2F0-A9D3-49F6-9E91-4134612A57FC}" type="presOf" srcId="{90833815-F732-45AF-B735-7A208BE16A8A}" destId="{5D0F02D1-4A23-4B53-AF4F-3529BE69829E}" srcOrd="0" destOrd="0" presId="urn:microsoft.com/office/officeart/2005/8/layout/orgChart1"/>
    <dgm:cxn modelId="{C22A2954-9F96-4F31-B31E-20343F66B23D}" type="presOf" srcId="{9B931718-FC68-4B2E-9854-492BCFE6FE83}" destId="{984A4F3B-0A00-4E5A-9092-1922B8A7FAB3}" srcOrd="0" destOrd="0" presId="urn:microsoft.com/office/officeart/2005/8/layout/orgChart1"/>
    <dgm:cxn modelId="{E040E2E2-F016-4F82-9927-EA3D62DA0F57}" srcId="{A26E1133-27F8-42A1-91FE-23383B9ACC99}" destId="{43BDC9E6-B3ED-4E11-B81F-A36F96CA06AD}" srcOrd="0" destOrd="0" parTransId="{818B4425-229C-4D05-BD73-F2583AB7B9C5}" sibTransId="{A3D2AA9D-1D2C-45CA-9A99-0FD9E343747F}"/>
    <dgm:cxn modelId="{5776165B-746E-4FBA-B235-98CAAF56AFCB}" type="presOf" srcId="{E137C9BD-EE5B-476B-B7BA-BA0D9370FCFA}" destId="{BA6AC4DB-0F64-47C4-8289-FB0923B8558A}" srcOrd="0" destOrd="0" presId="urn:microsoft.com/office/officeart/2005/8/layout/orgChart1"/>
    <dgm:cxn modelId="{9BC0CE65-6656-452D-9FB7-C215474DA20A}" type="presOf" srcId="{453F9760-1876-428B-8CB6-DA8F60516D89}" destId="{1D4D3FE4-1739-4B3C-ACD2-597D18FBC50F}" srcOrd="0" destOrd="0" presId="urn:microsoft.com/office/officeart/2005/8/layout/orgChart1"/>
    <dgm:cxn modelId="{2B3A1005-5EFE-438C-92D2-3FDE85296A48}" type="presOf" srcId="{65D088B7-B36E-49AA-84B9-2BC51B326EA1}" destId="{96956835-3386-449C-A89B-65F7C680246D}" srcOrd="0" destOrd="0" presId="urn:microsoft.com/office/officeart/2005/8/layout/orgChart1"/>
    <dgm:cxn modelId="{A0E66910-A417-4433-846A-E364FADC3533}" srcId="{1CE2D78B-C788-472A-8424-7F9A4AB5205E}" destId="{49742260-F14F-4BCB-8D88-ADD2EB5024EC}" srcOrd="2" destOrd="0" parTransId="{9275B05E-F520-4192-9B33-84AEEBC3F62D}" sibTransId="{BDB94797-518D-4543-8D6F-13596FEC7A22}"/>
    <dgm:cxn modelId="{142C654E-4B7E-49DA-86FA-946B7191B155}" type="presOf" srcId="{0216D3CF-84E5-4443-8082-6C6C297E9A4D}" destId="{CF9F174C-7D69-49F6-A7FE-7ED9990EB82A}" srcOrd="1" destOrd="0" presId="urn:microsoft.com/office/officeart/2005/8/layout/orgChart1"/>
    <dgm:cxn modelId="{1D010A61-9FCE-47C0-8083-F738D3EDAD83}" type="presOf" srcId="{55D0A0DD-88B0-4C7C-A785-02AC2DD8AEFB}" destId="{CF00A05E-81E0-4C4F-9FC9-0B1D7BC7DE00}" srcOrd="0" destOrd="0" presId="urn:microsoft.com/office/officeart/2005/8/layout/orgChart1"/>
    <dgm:cxn modelId="{FC0618D5-8A4E-4FC7-A566-15DADE66AF19}" type="presOf" srcId="{0216D3CF-84E5-4443-8082-6C6C297E9A4D}" destId="{CBCDE87F-FA6C-44B8-A9C2-1E747BE7F736}" srcOrd="0" destOrd="0" presId="urn:microsoft.com/office/officeart/2005/8/layout/orgChart1"/>
    <dgm:cxn modelId="{A630084D-67F8-48A7-9951-F46F3604D1B4}" srcId="{E420C67E-C4C2-476B-9B47-FFB47D587009}" destId="{90833815-F732-45AF-B735-7A208BE16A8A}" srcOrd="1" destOrd="0" parTransId="{62301F5E-BDD5-4369-B9CF-5999FECA1C85}" sibTransId="{7A88FAF5-FAAB-4848-B347-2B42AF8023FF}"/>
    <dgm:cxn modelId="{BCF9032C-FEDC-4538-92CF-12941E32DFCE}" type="presOf" srcId="{06D97C9C-573D-4522-BCEF-4077A5734816}" destId="{467A6B0F-1874-4E90-8E08-3C8CB91FF5C1}" srcOrd="1" destOrd="0" presId="urn:microsoft.com/office/officeart/2005/8/layout/orgChart1"/>
    <dgm:cxn modelId="{3F743A89-7342-433D-9EEF-29F52AA03898}" type="presOf" srcId="{73A0098F-31D8-453C-84FD-0E0CD7A87527}" destId="{F4864036-80FA-4A2E-B84D-CE2A3973B0C9}" srcOrd="1" destOrd="0" presId="urn:microsoft.com/office/officeart/2005/8/layout/orgChart1"/>
    <dgm:cxn modelId="{4CE599B2-AAAA-4B8B-8055-1333D1242267}" type="presOf" srcId="{720AE7B9-47AD-4FF9-8447-DF1B8C5FD193}" destId="{1064D61A-5C37-497D-A6F5-6312AB6E3F5A}" srcOrd="0" destOrd="0" presId="urn:microsoft.com/office/officeart/2005/8/layout/orgChart1"/>
    <dgm:cxn modelId="{4F450C7F-926D-4D03-B5F3-A6061BC0168E}" type="presOf" srcId="{E420C67E-C4C2-476B-9B47-FFB47D587009}" destId="{F0ED6141-24DB-4164-A2D4-B51E750525CD}" srcOrd="0" destOrd="0" presId="urn:microsoft.com/office/officeart/2005/8/layout/orgChart1"/>
    <dgm:cxn modelId="{CDCBEAFD-2839-4891-A055-E649799E7C2D}" type="presOf" srcId="{359E2506-5D19-4F9C-8688-C666576175A9}" destId="{50C84909-550F-4BDC-8966-B86E5E1786AE}" srcOrd="0" destOrd="0" presId="urn:microsoft.com/office/officeart/2005/8/layout/orgChart1"/>
    <dgm:cxn modelId="{38564F25-295F-460A-AFF1-1ACE19D87311}" type="presOf" srcId="{90833815-F732-45AF-B735-7A208BE16A8A}" destId="{8FF15CAA-9BF1-4437-B877-2B6831555847}" srcOrd="1" destOrd="0" presId="urn:microsoft.com/office/officeart/2005/8/layout/orgChart1"/>
    <dgm:cxn modelId="{0E5B9E71-0AEA-4466-9F55-A2B9A7EA5B7F}" type="presOf" srcId="{43BDC9E6-B3ED-4E11-B81F-A36F96CA06AD}" destId="{1AD90FEA-3135-49C2-A3C0-CFEDDC6405B3}" srcOrd="0" destOrd="0" presId="urn:microsoft.com/office/officeart/2005/8/layout/orgChart1"/>
    <dgm:cxn modelId="{8C20317D-42FE-4115-A3EB-ACFC1342EB32}" type="presOf" srcId="{E137C9BD-EE5B-476B-B7BA-BA0D9370FCFA}" destId="{4D1BB766-10EA-42C1-95FD-C81A7C8A7741}" srcOrd="1" destOrd="0" presId="urn:microsoft.com/office/officeart/2005/8/layout/orgChart1"/>
    <dgm:cxn modelId="{2C60EDBD-30D1-4DDA-8EA3-ACF367E990CD}" type="presOf" srcId="{2F6572D1-3E4E-41CC-B816-15F6AA753750}" destId="{7BABB840-5689-4566-85C9-55C4A127C4C6}" srcOrd="0" destOrd="0" presId="urn:microsoft.com/office/officeart/2005/8/layout/orgChart1"/>
    <dgm:cxn modelId="{0D252A7C-EA88-478B-9AB7-96B65AE1E68A}" srcId="{43BDC9E6-B3ED-4E11-B81F-A36F96CA06AD}" destId="{1CE2D78B-C788-472A-8424-7F9A4AB5205E}" srcOrd="2" destOrd="0" parTransId="{6ED4E1AA-EFDD-4E70-836E-3DB36084DE98}" sibTransId="{1D0F051B-C9A8-457A-BE08-985EF4C28172}"/>
    <dgm:cxn modelId="{353A1883-C566-41BD-8DDE-E29BC456C089}" type="presOf" srcId="{62301F5E-BDD5-4369-B9CF-5999FECA1C85}" destId="{FE10A4AF-D8A8-4F2D-9661-56E5DBB5B2C5}" srcOrd="0" destOrd="0" presId="urn:microsoft.com/office/officeart/2005/8/layout/orgChart1"/>
    <dgm:cxn modelId="{9B109AC9-AA82-4829-907E-E2CADA5B31B5}" type="presOf" srcId="{7D7C3FA2-CE75-4B7D-A218-416906B8D917}" destId="{63F8734B-291F-4EE9-8AEC-5D7130065FE8}" srcOrd="1" destOrd="0" presId="urn:microsoft.com/office/officeart/2005/8/layout/orgChart1"/>
    <dgm:cxn modelId="{46542973-063D-4953-A8A8-5B90E30B4DE4}" type="presOf" srcId="{5393009C-F2AE-4FEB-A060-2EF8CA0E315B}" destId="{F6DF7D20-97CE-45B5-8272-1D8DFBF4322E}" srcOrd="0" destOrd="0" presId="urn:microsoft.com/office/officeart/2005/8/layout/orgChart1"/>
    <dgm:cxn modelId="{3004605D-F0BD-4932-AD10-A980160E9770}" type="presOf" srcId="{C3334397-F4C9-43FD-9DE7-786437A51BF8}" destId="{CC07306D-4BD7-4477-BB61-A954489058D6}" srcOrd="0" destOrd="0" presId="urn:microsoft.com/office/officeart/2005/8/layout/orgChart1"/>
    <dgm:cxn modelId="{B5D0F5CB-7C49-42A0-8342-EB24872B874A}" type="presOf" srcId="{CFEBB133-5D80-4E9D-815E-BA7E2B5804D2}" destId="{50D60845-A14B-4DD0-8DB4-8B07FEB31A21}" srcOrd="0" destOrd="0" presId="urn:microsoft.com/office/officeart/2005/8/layout/orgChart1"/>
    <dgm:cxn modelId="{6E2E3B55-A6EB-46D7-B7D0-04629FD4C800}" srcId="{843E3B21-DC9F-4CF8-A7F1-93BF704E47A7}" destId="{9B931718-FC68-4B2E-9854-492BCFE6FE83}" srcOrd="2" destOrd="0" parTransId="{359E2506-5D19-4F9C-8688-C666576175A9}" sibTransId="{3113A228-1208-4305-91A0-AEEDFF54B5B2}"/>
    <dgm:cxn modelId="{E05E9541-AD81-4766-B371-B5ED25661D8C}" type="presOf" srcId="{35016019-1F0E-47A9-A9CB-AE98C0AFCFC1}" destId="{31DAB6FE-4097-4695-9397-7DCCE262634B}" srcOrd="1" destOrd="0" presId="urn:microsoft.com/office/officeart/2005/8/layout/orgChart1"/>
    <dgm:cxn modelId="{1F8971EF-37EB-457F-B0F7-1DB0A18BA58A}" type="presOf" srcId="{49742260-F14F-4BCB-8D88-ADD2EB5024EC}" destId="{93507A0E-B606-4F7A-9C01-283769128FF2}" srcOrd="0" destOrd="0" presId="urn:microsoft.com/office/officeart/2005/8/layout/orgChart1"/>
    <dgm:cxn modelId="{57E061EB-1B08-4305-A5F7-3AE1C406F387}" type="presOf" srcId="{3EEFE082-C4FA-499A-BA01-E4B8217A4B73}" destId="{A3BC68A0-CABF-4126-884C-C90818E1E26E}" srcOrd="0" destOrd="0" presId="urn:microsoft.com/office/officeart/2005/8/layout/orgChart1"/>
    <dgm:cxn modelId="{76A1B2E5-1C6E-4313-BB77-510965785453}" type="presOf" srcId="{14236E25-24F5-4DBC-8E23-FED5A30DEF0E}" destId="{A2B3E9C0-0CE1-4B88-9E71-F7CE1A7F99D7}" srcOrd="0" destOrd="0" presId="urn:microsoft.com/office/officeart/2005/8/layout/orgChart1"/>
    <dgm:cxn modelId="{0916CBA5-D6F7-47A9-8D4B-27C129667DA9}" type="presOf" srcId="{06D97C9C-573D-4522-BCEF-4077A5734816}" destId="{0B051ACB-AD4B-44A0-B203-A3F060DC178D}" srcOrd="0" destOrd="0" presId="urn:microsoft.com/office/officeart/2005/8/layout/orgChart1"/>
    <dgm:cxn modelId="{A7902B7B-AC1B-4FC0-A0C2-E36F86C8F684}" type="presOf" srcId="{CFEBB133-5D80-4E9D-815E-BA7E2B5804D2}" destId="{F55C39B9-C17D-4782-B68D-D9F73AAEE095}" srcOrd="1" destOrd="0" presId="urn:microsoft.com/office/officeart/2005/8/layout/orgChart1"/>
    <dgm:cxn modelId="{3DADD5DA-5EED-46AB-84B9-0B69B5C5A4D7}" type="presOf" srcId="{43BDC9E6-B3ED-4E11-B81F-A36F96CA06AD}" destId="{6EF86BC6-06CE-4768-9942-F4420543D5EE}" srcOrd="1" destOrd="0" presId="urn:microsoft.com/office/officeart/2005/8/layout/orgChart1"/>
    <dgm:cxn modelId="{0A9BCBFE-1796-4AA7-B37B-BEBF6C10404D}" type="presOf" srcId="{A240A1E1-162D-4A6E-A806-B6FF45B3AB68}" destId="{20C564F4-BF5C-4321-B86B-65391CEDEFC7}" srcOrd="1" destOrd="0" presId="urn:microsoft.com/office/officeart/2005/8/layout/orgChart1"/>
    <dgm:cxn modelId="{DD8C3C57-0C3A-4396-8D8E-3AC8A48E671D}" type="presOf" srcId="{843E3B21-DC9F-4CF8-A7F1-93BF704E47A7}" destId="{5E5C4910-D5C2-4117-9825-0F4E2308A1D4}" srcOrd="0" destOrd="0" presId="urn:microsoft.com/office/officeart/2005/8/layout/orgChart1"/>
    <dgm:cxn modelId="{ED619F42-2580-41A9-8237-824B28DDDB82}" type="presOf" srcId="{843E3B21-DC9F-4CF8-A7F1-93BF704E47A7}" destId="{AB22B6A5-BFAD-4E5F-BED0-C002FA69FEEF}" srcOrd="1" destOrd="0" presId="urn:microsoft.com/office/officeart/2005/8/layout/orgChart1"/>
    <dgm:cxn modelId="{29ACD791-C75A-40F1-9EC1-0B5DA4E606EC}" type="presOf" srcId="{35016019-1F0E-47A9-A9CB-AE98C0AFCFC1}" destId="{428A54D9-43F6-47B6-B3A2-FDCE09CB5A97}" srcOrd="0" destOrd="0" presId="urn:microsoft.com/office/officeart/2005/8/layout/orgChart1"/>
    <dgm:cxn modelId="{7D221647-57D6-405A-836A-90AC69D883DC}" type="presOf" srcId="{7D7C3FA2-CE75-4B7D-A218-416906B8D917}" destId="{A77E27D0-EFD7-495B-9E1A-5A5371B8AB84}" srcOrd="0" destOrd="0" presId="urn:microsoft.com/office/officeart/2005/8/layout/orgChart1"/>
    <dgm:cxn modelId="{2648CEB6-4DB9-42A6-B700-4831395E15AC}" srcId="{843E3B21-DC9F-4CF8-A7F1-93BF704E47A7}" destId="{7D7C3FA2-CE75-4B7D-A218-416906B8D917}" srcOrd="1" destOrd="0" parTransId="{14236E25-24F5-4DBC-8E23-FED5A30DEF0E}" sibTransId="{FB40D391-DB77-4C2C-BDCE-7A207CEAE6FE}"/>
    <dgm:cxn modelId="{93C18DCF-6401-4C24-8BE2-77B239018EAB}" srcId="{843E3B21-DC9F-4CF8-A7F1-93BF704E47A7}" destId="{E137C9BD-EE5B-476B-B7BA-BA0D9370FCFA}" srcOrd="3" destOrd="0" parTransId="{55D0A0DD-88B0-4C7C-A785-02AC2DD8AEFB}" sibTransId="{BCD31398-9148-4314-98D5-83D75352DBF9}"/>
    <dgm:cxn modelId="{05A47AE2-D438-4AF0-BCBA-81AF12B8BE85}" type="presOf" srcId="{73A0098F-31D8-453C-84FD-0E0CD7A87527}" destId="{B48C34C0-3268-4BDA-9392-41361EEA60C6}" srcOrd="0" destOrd="0" presId="urn:microsoft.com/office/officeart/2005/8/layout/orgChart1"/>
    <dgm:cxn modelId="{AFDDB5E4-CFF4-4BD5-A418-7C2967A3A58B}" type="presOf" srcId="{6C5C9B86-7AAA-465B-98FF-E3F38189A3AE}" destId="{3A94D9E8-C2A3-4765-9477-D710CC646957}" srcOrd="0" destOrd="0" presId="urn:microsoft.com/office/officeart/2005/8/layout/orgChart1"/>
    <dgm:cxn modelId="{3DE7FEBD-8D6C-4474-8C86-4EBE7A8ECB9B}" type="presOf" srcId="{F0BD47AB-7AC9-40A2-A96D-1A911EFDE7FF}" destId="{AEDC7120-FE6F-49D8-95F2-AB1B2B6AC9A8}" srcOrd="0" destOrd="0" presId="urn:microsoft.com/office/officeart/2005/8/layout/orgChart1"/>
    <dgm:cxn modelId="{C50BA750-97C9-433C-91DB-F0B3A2EC7B1C}" type="presOf" srcId="{720AE7B9-47AD-4FF9-8447-DF1B8C5FD193}" destId="{1D0BA542-EABF-46D4-A11D-8954A50A4A27}" srcOrd="1" destOrd="0" presId="urn:microsoft.com/office/officeart/2005/8/layout/orgChart1"/>
    <dgm:cxn modelId="{C0A96704-2709-4237-9BB6-943C967BF70B}" type="presOf" srcId="{E420C67E-C4C2-476B-9B47-FFB47D587009}" destId="{45256018-C335-4CDB-9EC5-7AE2ABAC1E00}" srcOrd="1" destOrd="0" presId="urn:microsoft.com/office/officeart/2005/8/layout/orgChart1"/>
    <dgm:cxn modelId="{823C3DDD-4778-4A47-9CCF-05D1CAF70033}" srcId="{1CE2D78B-C788-472A-8424-7F9A4AB5205E}" destId="{73A0098F-31D8-453C-84FD-0E0CD7A87527}" srcOrd="4" destOrd="0" parTransId="{5393009C-F2AE-4FEB-A060-2EF8CA0E315B}" sibTransId="{16A80FE0-982B-4270-9C2E-D28AA7AD0DDC}"/>
    <dgm:cxn modelId="{0FC80EB4-A1B2-475C-8A70-480BCDA63010}" type="presOf" srcId="{2F6572D1-3E4E-41CC-B816-15F6AA753750}" destId="{C3C99CCA-0A47-4420-ABC8-53654C0C3796}" srcOrd="1" destOrd="0" presId="urn:microsoft.com/office/officeart/2005/8/layout/orgChart1"/>
    <dgm:cxn modelId="{06E71150-3811-4FC5-8858-0203DD6C998E}" srcId="{E420C67E-C4C2-476B-9B47-FFB47D587009}" destId="{2F6572D1-3E4E-41CC-B816-15F6AA753750}" srcOrd="2" destOrd="0" parTransId="{453F9760-1876-428B-8CB6-DA8F60516D89}" sibTransId="{F36BC338-6ADD-4D27-8F50-A2943AF092AF}"/>
    <dgm:cxn modelId="{216EE5AB-5FFA-489B-B5E4-B3BFD3525126}" type="presOf" srcId="{A240A1E1-162D-4A6E-A806-B6FF45B3AB68}" destId="{6E033C69-6BA8-4812-AE4E-0022A986E944}" srcOrd="0" destOrd="0" presId="urn:microsoft.com/office/officeart/2005/8/layout/orgChart1"/>
    <dgm:cxn modelId="{A5796CBA-7421-4165-9D7A-0201B6D174F3}" type="presOf" srcId="{A60BCA66-49BB-4275-9110-8B471B3FC59B}" destId="{28E82B1A-B1F2-4CC5-9B64-B60015CBF624}" srcOrd="0" destOrd="0" presId="urn:microsoft.com/office/officeart/2005/8/layout/orgChart1"/>
    <dgm:cxn modelId="{2AC6A1A2-FDAF-4C07-BF93-78DC05214544}" srcId="{43BDC9E6-B3ED-4E11-B81F-A36F96CA06AD}" destId="{E420C67E-C4C2-476B-9B47-FFB47D587009}" srcOrd="1" destOrd="0" parTransId="{65D088B7-B36E-49AA-84B9-2BC51B326EA1}" sibTransId="{7CC715FB-928E-4CFE-A8F5-045F16B2D743}"/>
    <dgm:cxn modelId="{07FA88B9-A0FB-497A-AE28-D120A7EF9818}" srcId="{1CE2D78B-C788-472A-8424-7F9A4AB5205E}" destId="{06D97C9C-573D-4522-BCEF-4077A5734816}" srcOrd="3" destOrd="0" parTransId="{8347F65C-462B-45FD-9066-355B95EA2540}" sibTransId="{D708F60A-A2AE-4945-B861-E8EBC113FD88}"/>
    <dgm:cxn modelId="{EC93E284-263F-4F85-A9A1-5BBC0D5AE7BF}" type="presOf" srcId="{1CE2D78B-C788-472A-8424-7F9A4AB5205E}" destId="{6D7B6648-0B7F-4E1F-B6C5-CE0E2F04B9FF}" srcOrd="1" destOrd="0" presId="urn:microsoft.com/office/officeart/2005/8/layout/orgChart1"/>
    <dgm:cxn modelId="{5D9D4CA9-9EC7-4145-BE83-09411E20F425}" type="presOf" srcId="{49742260-F14F-4BCB-8D88-ADD2EB5024EC}" destId="{FA7ED8CE-14CF-4D38-BE63-D19E93618025}" srcOrd="1" destOrd="0" presId="urn:microsoft.com/office/officeart/2005/8/layout/orgChart1"/>
    <dgm:cxn modelId="{7E8A394C-0B32-41E9-BC7B-038412EB61D4}" srcId="{E420C67E-C4C2-476B-9B47-FFB47D587009}" destId="{CFEBB133-5D80-4E9D-815E-BA7E2B5804D2}" srcOrd="3" destOrd="0" parTransId="{6C5C9B86-7AAA-465B-98FF-E3F38189A3AE}" sibTransId="{7FDECB7D-540F-4AC8-A911-0EDE43878630}"/>
    <dgm:cxn modelId="{F0C0AED6-3BFB-430A-84C4-C1842ECA49F1}" srcId="{1CE2D78B-C788-472A-8424-7F9A4AB5205E}" destId="{35016019-1F0E-47A9-A9CB-AE98C0AFCFC1}" srcOrd="1" destOrd="0" parTransId="{A60BCA66-49BB-4275-9110-8B471B3FC59B}" sibTransId="{549EC933-326F-43C6-A4AD-B0C6604A5CF9}"/>
    <dgm:cxn modelId="{CCB5AE26-70F4-4C5B-B53D-136E39A12AC5}" srcId="{1CE2D78B-C788-472A-8424-7F9A4AB5205E}" destId="{A240A1E1-162D-4A6E-A806-B6FF45B3AB68}" srcOrd="0" destOrd="0" parTransId="{F0BD47AB-7AC9-40A2-A96D-1A911EFDE7FF}" sibTransId="{A12D77FB-8453-4F78-A007-65AD68966259}"/>
    <dgm:cxn modelId="{108EA2ED-C907-4EAA-8E6F-54CDE33C7C58}" type="presOf" srcId="{A26E1133-27F8-42A1-91FE-23383B9ACC99}" destId="{E9F5810C-05C5-4937-8779-609DD6BD5CFD}" srcOrd="0" destOrd="0" presId="urn:microsoft.com/office/officeart/2005/8/layout/orgChart1"/>
    <dgm:cxn modelId="{BC03455B-8DFD-4E0E-A4D5-FDF88AC589DF}" type="presOf" srcId="{9B931718-FC68-4B2E-9854-492BCFE6FE83}" destId="{700B55C8-272E-490B-AB5F-A5C6369E8C79}" srcOrd="1" destOrd="0" presId="urn:microsoft.com/office/officeart/2005/8/layout/orgChart1"/>
    <dgm:cxn modelId="{3C110BFF-FD87-473E-9985-0D9D761E60BD}" srcId="{43BDC9E6-B3ED-4E11-B81F-A36F96CA06AD}" destId="{843E3B21-DC9F-4CF8-A7F1-93BF704E47A7}" srcOrd="0" destOrd="0" parTransId="{3EEFE082-C4FA-499A-BA01-E4B8217A4B73}" sibTransId="{2992CB8F-FBF4-486F-BE86-7AEC96D28238}"/>
    <dgm:cxn modelId="{21491550-8676-47B7-BD7A-EFE74F40F445}" type="presOf" srcId="{3722DDF4-26E2-4422-A516-DEEAC3ECF65B}" destId="{A83ED5F7-10A0-45C9-B814-5804FA76917E}" srcOrd="0" destOrd="0" presId="urn:microsoft.com/office/officeart/2005/8/layout/orgChart1"/>
    <dgm:cxn modelId="{EF068727-ACC2-44A2-AB1D-41B122778067}" type="presParOf" srcId="{E9F5810C-05C5-4937-8779-609DD6BD5CFD}" destId="{25A00B3E-FEA8-439F-999E-8DB6BC95DBC0}" srcOrd="0" destOrd="0" presId="urn:microsoft.com/office/officeart/2005/8/layout/orgChart1"/>
    <dgm:cxn modelId="{EB0F28DB-61F9-48B8-89AB-35ED33C39D33}" type="presParOf" srcId="{25A00B3E-FEA8-439F-999E-8DB6BC95DBC0}" destId="{305CB9B7-E4C6-453D-AC39-1DA3FA25C576}" srcOrd="0" destOrd="0" presId="urn:microsoft.com/office/officeart/2005/8/layout/orgChart1"/>
    <dgm:cxn modelId="{C3E14467-D44C-4BC1-8662-66E3812C45BF}" type="presParOf" srcId="{305CB9B7-E4C6-453D-AC39-1DA3FA25C576}" destId="{1AD90FEA-3135-49C2-A3C0-CFEDDC6405B3}" srcOrd="0" destOrd="0" presId="urn:microsoft.com/office/officeart/2005/8/layout/orgChart1"/>
    <dgm:cxn modelId="{D7282E5F-448D-4FF7-8DED-7FD6178E6F7B}" type="presParOf" srcId="{305CB9B7-E4C6-453D-AC39-1DA3FA25C576}" destId="{6EF86BC6-06CE-4768-9942-F4420543D5EE}" srcOrd="1" destOrd="0" presId="urn:microsoft.com/office/officeart/2005/8/layout/orgChart1"/>
    <dgm:cxn modelId="{CD9593E5-0FB1-4EDF-849A-86691FC52DED}" type="presParOf" srcId="{25A00B3E-FEA8-439F-999E-8DB6BC95DBC0}" destId="{EC72B6B4-B63E-4FE2-8CC2-5FA221770366}" srcOrd="1" destOrd="0" presId="urn:microsoft.com/office/officeart/2005/8/layout/orgChart1"/>
    <dgm:cxn modelId="{CD880FC1-0124-4339-9F3D-F40385613F64}" type="presParOf" srcId="{EC72B6B4-B63E-4FE2-8CC2-5FA221770366}" destId="{A3BC68A0-CABF-4126-884C-C90818E1E26E}" srcOrd="0" destOrd="0" presId="urn:microsoft.com/office/officeart/2005/8/layout/orgChart1"/>
    <dgm:cxn modelId="{5ED3FE82-119A-4A21-8402-24E0081193B4}" type="presParOf" srcId="{EC72B6B4-B63E-4FE2-8CC2-5FA221770366}" destId="{9B84C5AA-6259-445A-8F7A-6D366FCBB4AD}" srcOrd="1" destOrd="0" presId="urn:microsoft.com/office/officeart/2005/8/layout/orgChart1"/>
    <dgm:cxn modelId="{AFBA021D-877F-4B7E-85EB-23DA7ADC2DB2}" type="presParOf" srcId="{9B84C5AA-6259-445A-8F7A-6D366FCBB4AD}" destId="{F324FB99-E565-440D-9319-A2867DA87756}" srcOrd="0" destOrd="0" presId="urn:microsoft.com/office/officeart/2005/8/layout/orgChart1"/>
    <dgm:cxn modelId="{88E98689-D927-4A51-981E-9262523D5295}" type="presParOf" srcId="{F324FB99-E565-440D-9319-A2867DA87756}" destId="{5E5C4910-D5C2-4117-9825-0F4E2308A1D4}" srcOrd="0" destOrd="0" presId="urn:microsoft.com/office/officeart/2005/8/layout/orgChart1"/>
    <dgm:cxn modelId="{0F113777-D0CB-47FB-9D38-3B618454BC1C}" type="presParOf" srcId="{F324FB99-E565-440D-9319-A2867DA87756}" destId="{AB22B6A5-BFAD-4E5F-BED0-C002FA69FEEF}" srcOrd="1" destOrd="0" presId="urn:microsoft.com/office/officeart/2005/8/layout/orgChart1"/>
    <dgm:cxn modelId="{17DB94A0-4D63-401D-97D5-94EEDE4D070D}" type="presParOf" srcId="{9B84C5AA-6259-445A-8F7A-6D366FCBB4AD}" destId="{16186025-4BC6-46E2-97F6-F9084F02632D}" srcOrd="1" destOrd="0" presId="urn:microsoft.com/office/officeart/2005/8/layout/orgChart1"/>
    <dgm:cxn modelId="{E41644F9-9025-42B8-B91A-3A4FE916D937}" type="presParOf" srcId="{16186025-4BC6-46E2-97F6-F9084F02632D}" destId="{A83ED5F7-10A0-45C9-B814-5804FA76917E}" srcOrd="0" destOrd="0" presId="urn:microsoft.com/office/officeart/2005/8/layout/orgChart1"/>
    <dgm:cxn modelId="{8C04D154-5462-454E-95A7-3BA10AA7E91B}" type="presParOf" srcId="{16186025-4BC6-46E2-97F6-F9084F02632D}" destId="{D44CFE56-6231-4D51-BDF4-F9842887D455}" srcOrd="1" destOrd="0" presId="urn:microsoft.com/office/officeart/2005/8/layout/orgChart1"/>
    <dgm:cxn modelId="{EF1A5D47-383D-419E-8D94-E32554E26615}" type="presParOf" srcId="{D44CFE56-6231-4D51-BDF4-F9842887D455}" destId="{F340CB26-8421-44AC-9592-9BB7E87D96B8}" srcOrd="0" destOrd="0" presId="urn:microsoft.com/office/officeart/2005/8/layout/orgChart1"/>
    <dgm:cxn modelId="{A396DE84-F0F1-42B4-86F3-FE4A2178AB08}" type="presParOf" srcId="{F340CB26-8421-44AC-9592-9BB7E87D96B8}" destId="{1064D61A-5C37-497D-A6F5-6312AB6E3F5A}" srcOrd="0" destOrd="0" presId="urn:microsoft.com/office/officeart/2005/8/layout/orgChart1"/>
    <dgm:cxn modelId="{4CE3120B-A50D-4480-BC46-D409D134A25A}" type="presParOf" srcId="{F340CB26-8421-44AC-9592-9BB7E87D96B8}" destId="{1D0BA542-EABF-46D4-A11D-8954A50A4A27}" srcOrd="1" destOrd="0" presId="urn:microsoft.com/office/officeart/2005/8/layout/orgChart1"/>
    <dgm:cxn modelId="{7A2E90D7-16BD-43EE-9814-4D5277BB6205}" type="presParOf" srcId="{D44CFE56-6231-4D51-BDF4-F9842887D455}" destId="{CB5479DD-BB83-4A7F-A8FE-0204BBEBDE57}" srcOrd="1" destOrd="0" presId="urn:microsoft.com/office/officeart/2005/8/layout/orgChart1"/>
    <dgm:cxn modelId="{C84F31D4-D223-4A17-83F1-4091F06DF27C}" type="presParOf" srcId="{D44CFE56-6231-4D51-BDF4-F9842887D455}" destId="{72F3B94E-5E2C-4DF9-BCD5-3D635951032C}" srcOrd="2" destOrd="0" presId="urn:microsoft.com/office/officeart/2005/8/layout/orgChart1"/>
    <dgm:cxn modelId="{149E5C11-D964-483D-BF8A-EE7A3A8BE815}" type="presParOf" srcId="{16186025-4BC6-46E2-97F6-F9084F02632D}" destId="{A2B3E9C0-0CE1-4B88-9E71-F7CE1A7F99D7}" srcOrd="2" destOrd="0" presId="urn:microsoft.com/office/officeart/2005/8/layout/orgChart1"/>
    <dgm:cxn modelId="{331A0FE7-A14F-4485-B5A7-A2EA50D2E51D}" type="presParOf" srcId="{16186025-4BC6-46E2-97F6-F9084F02632D}" destId="{16797127-63BB-4E8C-8005-5E72B3FF9B3C}" srcOrd="3" destOrd="0" presId="urn:microsoft.com/office/officeart/2005/8/layout/orgChart1"/>
    <dgm:cxn modelId="{65C7D7B5-A754-452B-B5D4-E298063496D5}" type="presParOf" srcId="{16797127-63BB-4E8C-8005-5E72B3FF9B3C}" destId="{4DFEF789-40AF-4966-81EA-F7C1CBE52773}" srcOrd="0" destOrd="0" presId="urn:microsoft.com/office/officeart/2005/8/layout/orgChart1"/>
    <dgm:cxn modelId="{ECDA19C1-AA4D-4994-BB33-CDDFC10A14C6}" type="presParOf" srcId="{4DFEF789-40AF-4966-81EA-F7C1CBE52773}" destId="{A77E27D0-EFD7-495B-9E1A-5A5371B8AB84}" srcOrd="0" destOrd="0" presId="urn:microsoft.com/office/officeart/2005/8/layout/orgChart1"/>
    <dgm:cxn modelId="{DDFF1721-65B5-49F3-BB59-932631E8D356}" type="presParOf" srcId="{4DFEF789-40AF-4966-81EA-F7C1CBE52773}" destId="{63F8734B-291F-4EE9-8AEC-5D7130065FE8}" srcOrd="1" destOrd="0" presId="urn:microsoft.com/office/officeart/2005/8/layout/orgChart1"/>
    <dgm:cxn modelId="{EE171241-B38D-4164-8F0A-026794024581}" type="presParOf" srcId="{16797127-63BB-4E8C-8005-5E72B3FF9B3C}" destId="{F1241E53-1837-4666-9A60-B6AD42958195}" srcOrd="1" destOrd="0" presId="urn:microsoft.com/office/officeart/2005/8/layout/orgChart1"/>
    <dgm:cxn modelId="{D461B9E3-D505-4E70-95E3-39FEA2792B5C}" type="presParOf" srcId="{16797127-63BB-4E8C-8005-5E72B3FF9B3C}" destId="{E1079AD2-0C8E-44F0-9596-6D504E6161CE}" srcOrd="2" destOrd="0" presId="urn:microsoft.com/office/officeart/2005/8/layout/orgChart1"/>
    <dgm:cxn modelId="{3FED6C75-1C30-4067-9CF4-D477910C8FDB}" type="presParOf" srcId="{16186025-4BC6-46E2-97F6-F9084F02632D}" destId="{50C84909-550F-4BDC-8966-B86E5E1786AE}" srcOrd="4" destOrd="0" presId="urn:microsoft.com/office/officeart/2005/8/layout/orgChart1"/>
    <dgm:cxn modelId="{7BD1F95E-3E6B-4215-B930-EB55914780C0}" type="presParOf" srcId="{16186025-4BC6-46E2-97F6-F9084F02632D}" destId="{EBCAC25B-3E97-4708-AA7E-0D44E4C06B2C}" srcOrd="5" destOrd="0" presId="urn:microsoft.com/office/officeart/2005/8/layout/orgChart1"/>
    <dgm:cxn modelId="{CA37B24F-9E4A-4F79-86CA-25443D52E7E1}" type="presParOf" srcId="{EBCAC25B-3E97-4708-AA7E-0D44E4C06B2C}" destId="{56A22D43-7DD1-46E6-B06A-D1D662EE6DAD}" srcOrd="0" destOrd="0" presId="urn:microsoft.com/office/officeart/2005/8/layout/orgChart1"/>
    <dgm:cxn modelId="{A209A3DF-1B8B-4ADA-B4E2-DDB8667F1361}" type="presParOf" srcId="{56A22D43-7DD1-46E6-B06A-D1D662EE6DAD}" destId="{984A4F3B-0A00-4E5A-9092-1922B8A7FAB3}" srcOrd="0" destOrd="0" presId="urn:microsoft.com/office/officeart/2005/8/layout/orgChart1"/>
    <dgm:cxn modelId="{591D0FFC-3E7F-4122-AC18-5B407BD9B6F7}" type="presParOf" srcId="{56A22D43-7DD1-46E6-B06A-D1D662EE6DAD}" destId="{700B55C8-272E-490B-AB5F-A5C6369E8C79}" srcOrd="1" destOrd="0" presId="urn:microsoft.com/office/officeart/2005/8/layout/orgChart1"/>
    <dgm:cxn modelId="{9243BF95-66C8-48C0-998D-F0B140B57B85}" type="presParOf" srcId="{EBCAC25B-3E97-4708-AA7E-0D44E4C06B2C}" destId="{18D6C1B6-F902-4ABE-BB60-086B907C1C3A}" srcOrd="1" destOrd="0" presId="urn:microsoft.com/office/officeart/2005/8/layout/orgChart1"/>
    <dgm:cxn modelId="{D157A0CB-B9C6-4D48-B3B6-1E1EB4D95854}" type="presParOf" srcId="{EBCAC25B-3E97-4708-AA7E-0D44E4C06B2C}" destId="{4E3F742A-A2F5-4971-A026-90DA3CFE956C}" srcOrd="2" destOrd="0" presId="urn:microsoft.com/office/officeart/2005/8/layout/orgChart1"/>
    <dgm:cxn modelId="{5566A2F4-01E4-4E5B-82D2-6C7241474CBB}" type="presParOf" srcId="{16186025-4BC6-46E2-97F6-F9084F02632D}" destId="{CF00A05E-81E0-4C4F-9FC9-0B1D7BC7DE00}" srcOrd="6" destOrd="0" presId="urn:microsoft.com/office/officeart/2005/8/layout/orgChart1"/>
    <dgm:cxn modelId="{D60FAECE-7C40-4E91-8176-DD148A4C2866}" type="presParOf" srcId="{16186025-4BC6-46E2-97F6-F9084F02632D}" destId="{A00A133F-9C71-422B-B8D5-E1805943DC75}" srcOrd="7" destOrd="0" presId="urn:microsoft.com/office/officeart/2005/8/layout/orgChart1"/>
    <dgm:cxn modelId="{D1306DD6-8D16-48DF-9A7D-0577B59265E5}" type="presParOf" srcId="{A00A133F-9C71-422B-B8D5-E1805943DC75}" destId="{B2A302CD-478F-47E1-BBE5-EDCA7054BF9D}" srcOrd="0" destOrd="0" presId="urn:microsoft.com/office/officeart/2005/8/layout/orgChart1"/>
    <dgm:cxn modelId="{0DA38A27-7440-4808-9D10-8E1D137146F2}" type="presParOf" srcId="{B2A302CD-478F-47E1-BBE5-EDCA7054BF9D}" destId="{BA6AC4DB-0F64-47C4-8289-FB0923B8558A}" srcOrd="0" destOrd="0" presId="urn:microsoft.com/office/officeart/2005/8/layout/orgChart1"/>
    <dgm:cxn modelId="{EDBBCB0D-DBE4-4713-AE13-6F52D3596877}" type="presParOf" srcId="{B2A302CD-478F-47E1-BBE5-EDCA7054BF9D}" destId="{4D1BB766-10EA-42C1-95FD-C81A7C8A7741}" srcOrd="1" destOrd="0" presId="urn:microsoft.com/office/officeart/2005/8/layout/orgChart1"/>
    <dgm:cxn modelId="{2D8E0486-565F-49D7-B4C8-CBB5832F6195}" type="presParOf" srcId="{A00A133F-9C71-422B-B8D5-E1805943DC75}" destId="{C0EE058C-ACBB-444C-AC89-E22EE759A819}" srcOrd="1" destOrd="0" presId="urn:microsoft.com/office/officeart/2005/8/layout/orgChart1"/>
    <dgm:cxn modelId="{2B1440BB-832B-40F8-8957-6C319DA041A8}" type="presParOf" srcId="{A00A133F-9C71-422B-B8D5-E1805943DC75}" destId="{87AEEA8C-77A3-4494-BB33-3FA6A927D4FE}" srcOrd="2" destOrd="0" presId="urn:microsoft.com/office/officeart/2005/8/layout/orgChart1"/>
    <dgm:cxn modelId="{08A61A50-1FE4-4C59-BBF7-3AEC5728DAE6}" type="presParOf" srcId="{9B84C5AA-6259-445A-8F7A-6D366FCBB4AD}" destId="{82355405-192E-42E7-B905-7A6FE845C6D9}" srcOrd="2" destOrd="0" presId="urn:microsoft.com/office/officeart/2005/8/layout/orgChart1"/>
    <dgm:cxn modelId="{40DE364A-4773-4A01-A3EF-6610F932BA92}" type="presParOf" srcId="{EC72B6B4-B63E-4FE2-8CC2-5FA221770366}" destId="{96956835-3386-449C-A89B-65F7C680246D}" srcOrd="2" destOrd="0" presId="urn:microsoft.com/office/officeart/2005/8/layout/orgChart1"/>
    <dgm:cxn modelId="{FFF18F22-E77B-4F9B-AE79-C7D40CEE10E0}" type="presParOf" srcId="{EC72B6B4-B63E-4FE2-8CC2-5FA221770366}" destId="{DBD72DFC-EF80-4973-B6E5-D3C9AB052F9E}" srcOrd="3" destOrd="0" presId="urn:microsoft.com/office/officeart/2005/8/layout/orgChart1"/>
    <dgm:cxn modelId="{75863AA0-9813-4873-BE81-03A4D4432336}" type="presParOf" srcId="{DBD72DFC-EF80-4973-B6E5-D3C9AB052F9E}" destId="{72B31F8C-4060-4D82-8D0A-8A332812C464}" srcOrd="0" destOrd="0" presId="urn:microsoft.com/office/officeart/2005/8/layout/orgChart1"/>
    <dgm:cxn modelId="{01CB1BBA-73CA-442C-8C1C-6F365442A1BB}" type="presParOf" srcId="{72B31F8C-4060-4D82-8D0A-8A332812C464}" destId="{F0ED6141-24DB-4164-A2D4-B51E750525CD}" srcOrd="0" destOrd="0" presId="urn:microsoft.com/office/officeart/2005/8/layout/orgChart1"/>
    <dgm:cxn modelId="{9FE04469-5ACF-4AA0-94D3-6EC0BC06BA5C}" type="presParOf" srcId="{72B31F8C-4060-4D82-8D0A-8A332812C464}" destId="{45256018-C335-4CDB-9EC5-7AE2ABAC1E00}" srcOrd="1" destOrd="0" presId="urn:microsoft.com/office/officeart/2005/8/layout/orgChart1"/>
    <dgm:cxn modelId="{D5386087-CE05-41E7-8881-0146FDDF7B4C}" type="presParOf" srcId="{DBD72DFC-EF80-4973-B6E5-D3C9AB052F9E}" destId="{2A7D3334-4741-4667-BCDB-1A78491B4FD4}" srcOrd="1" destOrd="0" presId="urn:microsoft.com/office/officeart/2005/8/layout/orgChart1"/>
    <dgm:cxn modelId="{308C9F7C-CF93-4808-A44D-CB01C23822FB}" type="presParOf" srcId="{2A7D3334-4741-4667-BCDB-1A78491B4FD4}" destId="{CC07306D-4BD7-4477-BB61-A954489058D6}" srcOrd="0" destOrd="0" presId="urn:microsoft.com/office/officeart/2005/8/layout/orgChart1"/>
    <dgm:cxn modelId="{DB15E806-FBA0-4B5F-BECB-48D2D48FEE3F}" type="presParOf" srcId="{2A7D3334-4741-4667-BCDB-1A78491B4FD4}" destId="{0ECB6EE9-64D7-46FB-8A0A-B83CD370F0B4}" srcOrd="1" destOrd="0" presId="urn:microsoft.com/office/officeart/2005/8/layout/orgChart1"/>
    <dgm:cxn modelId="{0F43A29E-104A-4E96-86DA-6A8C86D2A4AD}" type="presParOf" srcId="{0ECB6EE9-64D7-46FB-8A0A-B83CD370F0B4}" destId="{9D96850F-E3A0-4435-B942-5F48B18AC5F4}" srcOrd="0" destOrd="0" presId="urn:microsoft.com/office/officeart/2005/8/layout/orgChart1"/>
    <dgm:cxn modelId="{A321C66C-2D28-4F25-8AE8-89AB531AC9B8}" type="presParOf" srcId="{9D96850F-E3A0-4435-B942-5F48B18AC5F4}" destId="{CBCDE87F-FA6C-44B8-A9C2-1E747BE7F736}" srcOrd="0" destOrd="0" presId="urn:microsoft.com/office/officeart/2005/8/layout/orgChart1"/>
    <dgm:cxn modelId="{C43F056C-62A3-4D4F-9BC5-355758B3FC5C}" type="presParOf" srcId="{9D96850F-E3A0-4435-B942-5F48B18AC5F4}" destId="{CF9F174C-7D69-49F6-A7FE-7ED9990EB82A}" srcOrd="1" destOrd="0" presId="urn:microsoft.com/office/officeart/2005/8/layout/orgChart1"/>
    <dgm:cxn modelId="{C832DE57-E764-4320-8FE2-3E001D29C84D}" type="presParOf" srcId="{0ECB6EE9-64D7-46FB-8A0A-B83CD370F0B4}" destId="{1934090D-CBAE-4AB8-9BE7-C9762145998D}" srcOrd="1" destOrd="0" presId="urn:microsoft.com/office/officeart/2005/8/layout/orgChart1"/>
    <dgm:cxn modelId="{CEFE717E-F303-428B-8BFB-76DF5D5E964F}" type="presParOf" srcId="{0ECB6EE9-64D7-46FB-8A0A-B83CD370F0B4}" destId="{7BCCCAFF-8404-460B-9A5A-B8BF91057993}" srcOrd="2" destOrd="0" presId="urn:microsoft.com/office/officeart/2005/8/layout/orgChart1"/>
    <dgm:cxn modelId="{83B0A8F8-73A6-41E0-905C-D98461F7F015}" type="presParOf" srcId="{2A7D3334-4741-4667-BCDB-1A78491B4FD4}" destId="{FE10A4AF-D8A8-4F2D-9661-56E5DBB5B2C5}" srcOrd="2" destOrd="0" presId="urn:microsoft.com/office/officeart/2005/8/layout/orgChart1"/>
    <dgm:cxn modelId="{4BD2F945-5939-4064-A753-599493B2B0A9}" type="presParOf" srcId="{2A7D3334-4741-4667-BCDB-1A78491B4FD4}" destId="{6E36B90A-357D-4409-934D-6F40EC568AE0}" srcOrd="3" destOrd="0" presId="urn:microsoft.com/office/officeart/2005/8/layout/orgChart1"/>
    <dgm:cxn modelId="{B5EA9326-72CF-4975-9269-296C27A6995B}" type="presParOf" srcId="{6E36B90A-357D-4409-934D-6F40EC568AE0}" destId="{AB55976F-0A75-48BF-8621-9232364F260E}" srcOrd="0" destOrd="0" presId="urn:microsoft.com/office/officeart/2005/8/layout/orgChart1"/>
    <dgm:cxn modelId="{A8A299CF-B3A5-4987-881E-AC7D29C76C20}" type="presParOf" srcId="{AB55976F-0A75-48BF-8621-9232364F260E}" destId="{5D0F02D1-4A23-4B53-AF4F-3529BE69829E}" srcOrd="0" destOrd="0" presId="urn:microsoft.com/office/officeart/2005/8/layout/orgChart1"/>
    <dgm:cxn modelId="{E80693CD-194A-4035-A649-2BE3C8A2F4FF}" type="presParOf" srcId="{AB55976F-0A75-48BF-8621-9232364F260E}" destId="{8FF15CAA-9BF1-4437-B877-2B6831555847}" srcOrd="1" destOrd="0" presId="urn:microsoft.com/office/officeart/2005/8/layout/orgChart1"/>
    <dgm:cxn modelId="{91BED18E-2E07-4919-BF3E-1D29C79713E9}" type="presParOf" srcId="{6E36B90A-357D-4409-934D-6F40EC568AE0}" destId="{8EE5665B-F21D-4DA6-A444-6C77DD3C6F95}" srcOrd="1" destOrd="0" presId="urn:microsoft.com/office/officeart/2005/8/layout/orgChart1"/>
    <dgm:cxn modelId="{2F17321B-7FB2-4590-B1AF-401CC6411A59}" type="presParOf" srcId="{6E36B90A-357D-4409-934D-6F40EC568AE0}" destId="{F1F43870-C4AC-4AF4-AB05-6A054FC06D63}" srcOrd="2" destOrd="0" presId="urn:microsoft.com/office/officeart/2005/8/layout/orgChart1"/>
    <dgm:cxn modelId="{451E1CE0-EA46-42C8-9D3D-638970257051}" type="presParOf" srcId="{2A7D3334-4741-4667-BCDB-1A78491B4FD4}" destId="{1D4D3FE4-1739-4B3C-ACD2-597D18FBC50F}" srcOrd="4" destOrd="0" presId="urn:microsoft.com/office/officeart/2005/8/layout/orgChart1"/>
    <dgm:cxn modelId="{9EF5BD74-8A3A-4685-AF5B-B9917260972E}" type="presParOf" srcId="{2A7D3334-4741-4667-BCDB-1A78491B4FD4}" destId="{9115B6B6-EA79-4FE0-843B-D82CDE234246}" srcOrd="5" destOrd="0" presId="urn:microsoft.com/office/officeart/2005/8/layout/orgChart1"/>
    <dgm:cxn modelId="{94B87EA0-3881-4075-A85C-F0FD32EC3CDA}" type="presParOf" srcId="{9115B6B6-EA79-4FE0-843B-D82CDE234246}" destId="{B54B6D9A-0CB7-42FF-A0FD-F2137F2080D7}" srcOrd="0" destOrd="0" presId="urn:microsoft.com/office/officeart/2005/8/layout/orgChart1"/>
    <dgm:cxn modelId="{C83D2F68-EFE2-42CB-BA8D-6D439EDB42F5}" type="presParOf" srcId="{B54B6D9A-0CB7-42FF-A0FD-F2137F2080D7}" destId="{7BABB840-5689-4566-85C9-55C4A127C4C6}" srcOrd="0" destOrd="0" presId="urn:microsoft.com/office/officeart/2005/8/layout/orgChart1"/>
    <dgm:cxn modelId="{7E9D74E6-5542-4A41-9714-42EFF184A490}" type="presParOf" srcId="{B54B6D9A-0CB7-42FF-A0FD-F2137F2080D7}" destId="{C3C99CCA-0A47-4420-ABC8-53654C0C3796}" srcOrd="1" destOrd="0" presId="urn:microsoft.com/office/officeart/2005/8/layout/orgChart1"/>
    <dgm:cxn modelId="{F58D958D-E30D-4718-AD33-D1FA458E930F}" type="presParOf" srcId="{9115B6B6-EA79-4FE0-843B-D82CDE234246}" destId="{0D889D42-77FB-49A7-B6E8-3A8C670AFEAD}" srcOrd="1" destOrd="0" presId="urn:microsoft.com/office/officeart/2005/8/layout/orgChart1"/>
    <dgm:cxn modelId="{61BBFACE-E498-4EA2-9A12-1D011FE0A7C2}" type="presParOf" srcId="{9115B6B6-EA79-4FE0-843B-D82CDE234246}" destId="{6BE4F57E-EC21-4523-B1EB-3AEDD24C4D44}" srcOrd="2" destOrd="0" presId="urn:microsoft.com/office/officeart/2005/8/layout/orgChart1"/>
    <dgm:cxn modelId="{013A31D1-A19A-471B-904A-03DC7102AC91}" type="presParOf" srcId="{2A7D3334-4741-4667-BCDB-1A78491B4FD4}" destId="{3A94D9E8-C2A3-4765-9477-D710CC646957}" srcOrd="6" destOrd="0" presId="urn:microsoft.com/office/officeart/2005/8/layout/orgChart1"/>
    <dgm:cxn modelId="{CBC428BF-5609-492B-BC5C-B5DE66E8A285}" type="presParOf" srcId="{2A7D3334-4741-4667-BCDB-1A78491B4FD4}" destId="{2EAD44A1-134B-439B-87EC-257234921AE5}" srcOrd="7" destOrd="0" presId="urn:microsoft.com/office/officeart/2005/8/layout/orgChart1"/>
    <dgm:cxn modelId="{4E19EBD5-7816-4C6C-83ED-3FF3F679A0AA}" type="presParOf" srcId="{2EAD44A1-134B-439B-87EC-257234921AE5}" destId="{2FB73BF3-3C5D-4AD3-9D1C-8A589100FCB7}" srcOrd="0" destOrd="0" presId="urn:microsoft.com/office/officeart/2005/8/layout/orgChart1"/>
    <dgm:cxn modelId="{927E1B60-D0F0-4C1A-8601-9645D6B06316}" type="presParOf" srcId="{2FB73BF3-3C5D-4AD3-9D1C-8A589100FCB7}" destId="{50D60845-A14B-4DD0-8DB4-8B07FEB31A21}" srcOrd="0" destOrd="0" presId="urn:microsoft.com/office/officeart/2005/8/layout/orgChart1"/>
    <dgm:cxn modelId="{6C00E737-BDD3-4BC2-B3D3-0992708C35D2}" type="presParOf" srcId="{2FB73BF3-3C5D-4AD3-9D1C-8A589100FCB7}" destId="{F55C39B9-C17D-4782-B68D-D9F73AAEE095}" srcOrd="1" destOrd="0" presId="urn:microsoft.com/office/officeart/2005/8/layout/orgChart1"/>
    <dgm:cxn modelId="{F3F271BF-A043-4AEB-8E73-EF3F5D53B32C}" type="presParOf" srcId="{2EAD44A1-134B-439B-87EC-257234921AE5}" destId="{FE161E8F-9C2C-4330-91D6-9E6A7C6F19FB}" srcOrd="1" destOrd="0" presId="urn:microsoft.com/office/officeart/2005/8/layout/orgChart1"/>
    <dgm:cxn modelId="{F5171C8E-E24B-4C1E-A23A-9B2B5BDAE5C3}" type="presParOf" srcId="{2EAD44A1-134B-439B-87EC-257234921AE5}" destId="{DCFA5C64-38E4-453B-BB1F-AE8ADB7F8B50}" srcOrd="2" destOrd="0" presId="urn:microsoft.com/office/officeart/2005/8/layout/orgChart1"/>
    <dgm:cxn modelId="{BD3B0776-163D-4D4B-8A9A-AFC310228051}" type="presParOf" srcId="{DBD72DFC-EF80-4973-B6E5-D3C9AB052F9E}" destId="{1DBB8D6B-1EA9-448A-B87B-A162873E7B21}" srcOrd="2" destOrd="0" presId="urn:microsoft.com/office/officeart/2005/8/layout/orgChart1"/>
    <dgm:cxn modelId="{96153E89-B3B9-4EBD-8DBC-D28A9DE25BFE}" type="presParOf" srcId="{EC72B6B4-B63E-4FE2-8CC2-5FA221770366}" destId="{C137CAE9-66E1-459B-A733-9B53B02E07AF}" srcOrd="4" destOrd="0" presId="urn:microsoft.com/office/officeart/2005/8/layout/orgChart1"/>
    <dgm:cxn modelId="{67FCFAC2-2B7B-4C86-BEF7-4865DA44E372}" type="presParOf" srcId="{EC72B6B4-B63E-4FE2-8CC2-5FA221770366}" destId="{35CBA655-D40F-4A2B-B71A-711D392B5A84}" srcOrd="5" destOrd="0" presId="urn:microsoft.com/office/officeart/2005/8/layout/orgChart1"/>
    <dgm:cxn modelId="{FC78FC33-9E9D-4857-B6D7-F352C2C12116}" type="presParOf" srcId="{35CBA655-D40F-4A2B-B71A-711D392B5A84}" destId="{9DC86AED-B6DB-4100-9EA0-4E60FFB4A367}" srcOrd="0" destOrd="0" presId="urn:microsoft.com/office/officeart/2005/8/layout/orgChart1"/>
    <dgm:cxn modelId="{D92D5084-A8E0-4738-AD8D-CE5E2E7F71F4}" type="presParOf" srcId="{9DC86AED-B6DB-4100-9EA0-4E60FFB4A367}" destId="{A5F2589C-C16C-45F2-9A3D-F2A6CB2476D1}" srcOrd="0" destOrd="0" presId="urn:microsoft.com/office/officeart/2005/8/layout/orgChart1"/>
    <dgm:cxn modelId="{1D348DF7-C6B2-41F8-B474-5DDE26B59A7A}" type="presParOf" srcId="{9DC86AED-B6DB-4100-9EA0-4E60FFB4A367}" destId="{6D7B6648-0B7F-4E1F-B6C5-CE0E2F04B9FF}" srcOrd="1" destOrd="0" presId="urn:microsoft.com/office/officeart/2005/8/layout/orgChart1"/>
    <dgm:cxn modelId="{FB51A259-1C82-4847-BEE4-37423903D90E}" type="presParOf" srcId="{35CBA655-D40F-4A2B-B71A-711D392B5A84}" destId="{29CE8073-D253-4588-B954-7167D33B1947}" srcOrd="1" destOrd="0" presId="urn:microsoft.com/office/officeart/2005/8/layout/orgChart1"/>
    <dgm:cxn modelId="{E750D2AE-8767-402A-A507-2AB7363DA1ED}" type="presParOf" srcId="{29CE8073-D253-4588-B954-7167D33B1947}" destId="{AEDC7120-FE6F-49D8-95F2-AB1B2B6AC9A8}" srcOrd="0" destOrd="0" presId="urn:microsoft.com/office/officeart/2005/8/layout/orgChart1"/>
    <dgm:cxn modelId="{A42560D0-5190-4F33-BF1C-838A46379D24}" type="presParOf" srcId="{29CE8073-D253-4588-B954-7167D33B1947}" destId="{F65159AB-B6AE-4C58-BE85-DB4966F15FBA}" srcOrd="1" destOrd="0" presId="urn:microsoft.com/office/officeart/2005/8/layout/orgChart1"/>
    <dgm:cxn modelId="{77BADB8D-EADA-4315-9756-48E63D5F1B42}" type="presParOf" srcId="{F65159AB-B6AE-4C58-BE85-DB4966F15FBA}" destId="{4413A7CD-B07B-4481-95F7-63264BEB8326}" srcOrd="0" destOrd="0" presId="urn:microsoft.com/office/officeart/2005/8/layout/orgChart1"/>
    <dgm:cxn modelId="{C093DDDA-06EB-4742-BF7F-54D3A845E9A6}" type="presParOf" srcId="{4413A7CD-B07B-4481-95F7-63264BEB8326}" destId="{6E033C69-6BA8-4812-AE4E-0022A986E944}" srcOrd="0" destOrd="0" presId="urn:microsoft.com/office/officeart/2005/8/layout/orgChart1"/>
    <dgm:cxn modelId="{6E4F53AD-C791-4889-B984-994B87F7F054}" type="presParOf" srcId="{4413A7CD-B07B-4481-95F7-63264BEB8326}" destId="{20C564F4-BF5C-4321-B86B-65391CEDEFC7}" srcOrd="1" destOrd="0" presId="urn:microsoft.com/office/officeart/2005/8/layout/orgChart1"/>
    <dgm:cxn modelId="{E9EAD836-B8CF-49F8-8A99-357289F0C378}" type="presParOf" srcId="{F65159AB-B6AE-4C58-BE85-DB4966F15FBA}" destId="{7C0A51FE-5187-4FBA-A9F6-DFFAA1B3DD3E}" srcOrd="1" destOrd="0" presId="urn:microsoft.com/office/officeart/2005/8/layout/orgChart1"/>
    <dgm:cxn modelId="{C0404154-2388-438E-AD15-7A095B6B7A5E}" type="presParOf" srcId="{F65159AB-B6AE-4C58-BE85-DB4966F15FBA}" destId="{A5F1F6CB-B812-4FEA-ACD0-E838992C8274}" srcOrd="2" destOrd="0" presId="urn:microsoft.com/office/officeart/2005/8/layout/orgChart1"/>
    <dgm:cxn modelId="{9C09D6C5-A5DF-4BB4-864B-0EFE6C67550A}" type="presParOf" srcId="{29CE8073-D253-4588-B954-7167D33B1947}" destId="{28E82B1A-B1F2-4CC5-9B64-B60015CBF624}" srcOrd="2" destOrd="0" presId="urn:microsoft.com/office/officeart/2005/8/layout/orgChart1"/>
    <dgm:cxn modelId="{233B4380-38C0-4394-8115-3B563F55E67D}" type="presParOf" srcId="{29CE8073-D253-4588-B954-7167D33B1947}" destId="{B22DAA2B-22C5-4EFA-A0A6-9AD0235D2103}" srcOrd="3" destOrd="0" presId="urn:microsoft.com/office/officeart/2005/8/layout/orgChart1"/>
    <dgm:cxn modelId="{9DA70DD6-4E4F-4E53-A968-7A009B94BE0A}" type="presParOf" srcId="{B22DAA2B-22C5-4EFA-A0A6-9AD0235D2103}" destId="{514CA667-AA27-4D37-9311-1D5D85EF643D}" srcOrd="0" destOrd="0" presId="urn:microsoft.com/office/officeart/2005/8/layout/orgChart1"/>
    <dgm:cxn modelId="{081FC620-A75F-49BB-A812-0F9A5F706E83}" type="presParOf" srcId="{514CA667-AA27-4D37-9311-1D5D85EF643D}" destId="{428A54D9-43F6-47B6-B3A2-FDCE09CB5A97}" srcOrd="0" destOrd="0" presId="urn:microsoft.com/office/officeart/2005/8/layout/orgChart1"/>
    <dgm:cxn modelId="{C125FA37-86B7-4E0A-92A5-421676FF28F9}" type="presParOf" srcId="{514CA667-AA27-4D37-9311-1D5D85EF643D}" destId="{31DAB6FE-4097-4695-9397-7DCCE262634B}" srcOrd="1" destOrd="0" presId="urn:microsoft.com/office/officeart/2005/8/layout/orgChart1"/>
    <dgm:cxn modelId="{6814FEAC-62A2-4CA4-AAE9-AFB15FD087C1}" type="presParOf" srcId="{B22DAA2B-22C5-4EFA-A0A6-9AD0235D2103}" destId="{F4CC167B-F2F2-455C-9A45-823F18AFEF9A}" srcOrd="1" destOrd="0" presId="urn:microsoft.com/office/officeart/2005/8/layout/orgChart1"/>
    <dgm:cxn modelId="{6F2A5F2E-262E-4103-BF66-EFCD2E749AB7}" type="presParOf" srcId="{B22DAA2B-22C5-4EFA-A0A6-9AD0235D2103}" destId="{A5D0575B-48E0-4A98-88E8-8B4961A6F762}" srcOrd="2" destOrd="0" presId="urn:microsoft.com/office/officeart/2005/8/layout/orgChart1"/>
    <dgm:cxn modelId="{4D877FDC-BB2A-4980-800C-FBB298A185CA}" type="presParOf" srcId="{29CE8073-D253-4588-B954-7167D33B1947}" destId="{11628582-088E-42FA-B6EC-953F652565B0}" srcOrd="4" destOrd="0" presId="urn:microsoft.com/office/officeart/2005/8/layout/orgChart1"/>
    <dgm:cxn modelId="{B65F1716-8EBC-47F5-8AB5-6699CF233DAD}" type="presParOf" srcId="{29CE8073-D253-4588-B954-7167D33B1947}" destId="{7E6CA653-D7FD-4B20-AE44-C1F44E30C01B}" srcOrd="5" destOrd="0" presId="urn:microsoft.com/office/officeart/2005/8/layout/orgChart1"/>
    <dgm:cxn modelId="{36C18F8A-6E10-47A3-864C-BF3F13F7087B}" type="presParOf" srcId="{7E6CA653-D7FD-4B20-AE44-C1F44E30C01B}" destId="{E179F35A-A640-480A-9C40-3D39813B5DA3}" srcOrd="0" destOrd="0" presId="urn:microsoft.com/office/officeart/2005/8/layout/orgChart1"/>
    <dgm:cxn modelId="{A836F41D-9BEF-48D5-BD3F-D0FE5CD7EBF9}" type="presParOf" srcId="{E179F35A-A640-480A-9C40-3D39813B5DA3}" destId="{93507A0E-B606-4F7A-9C01-283769128FF2}" srcOrd="0" destOrd="0" presId="urn:microsoft.com/office/officeart/2005/8/layout/orgChart1"/>
    <dgm:cxn modelId="{2B0430B4-5771-46D6-9F54-C0605EB0A1E9}" type="presParOf" srcId="{E179F35A-A640-480A-9C40-3D39813B5DA3}" destId="{FA7ED8CE-14CF-4D38-BE63-D19E93618025}" srcOrd="1" destOrd="0" presId="urn:microsoft.com/office/officeart/2005/8/layout/orgChart1"/>
    <dgm:cxn modelId="{44BB986A-220F-4E55-B730-FCBF0BDC3203}" type="presParOf" srcId="{7E6CA653-D7FD-4B20-AE44-C1F44E30C01B}" destId="{D06BFE77-47E2-4E99-9240-F26F88BFBEAB}" srcOrd="1" destOrd="0" presId="urn:microsoft.com/office/officeart/2005/8/layout/orgChart1"/>
    <dgm:cxn modelId="{0B28DBCA-5562-4797-9B60-F64AAE4176B2}" type="presParOf" srcId="{7E6CA653-D7FD-4B20-AE44-C1F44E30C01B}" destId="{801CA00E-B2B0-4EC5-9889-E9E28C332373}" srcOrd="2" destOrd="0" presId="urn:microsoft.com/office/officeart/2005/8/layout/orgChart1"/>
    <dgm:cxn modelId="{345E5EBD-6DD3-455C-95DF-FAA05A499F75}" type="presParOf" srcId="{29CE8073-D253-4588-B954-7167D33B1947}" destId="{490CA387-8BDE-4005-BE6C-725A759AE03C}" srcOrd="6" destOrd="0" presId="urn:microsoft.com/office/officeart/2005/8/layout/orgChart1"/>
    <dgm:cxn modelId="{F40F0949-F017-4E26-A403-F6053594D3C9}" type="presParOf" srcId="{29CE8073-D253-4588-B954-7167D33B1947}" destId="{8EBF3569-414C-444A-82F4-1E2AB8C1CF12}" srcOrd="7" destOrd="0" presId="urn:microsoft.com/office/officeart/2005/8/layout/orgChart1"/>
    <dgm:cxn modelId="{2CD34764-CF72-479B-951C-046E5558AB22}" type="presParOf" srcId="{8EBF3569-414C-444A-82F4-1E2AB8C1CF12}" destId="{0758B0AD-A70D-49C4-B2F5-910D47263F30}" srcOrd="0" destOrd="0" presId="urn:microsoft.com/office/officeart/2005/8/layout/orgChart1"/>
    <dgm:cxn modelId="{E4119BEF-52BA-444F-958D-76F1EC9034D3}" type="presParOf" srcId="{0758B0AD-A70D-49C4-B2F5-910D47263F30}" destId="{0B051ACB-AD4B-44A0-B203-A3F060DC178D}" srcOrd="0" destOrd="0" presId="urn:microsoft.com/office/officeart/2005/8/layout/orgChart1"/>
    <dgm:cxn modelId="{899CA5A4-45DA-4B5F-A3D6-84BAC4CD47DD}" type="presParOf" srcId="{0758B0AD-A70D-49C4-B2F5-910D47263F30}" destId="{467A6B0F-1874-4E90-8E08-3C8CB91FF5C1}" srcOrd="1" destOrd="0" presId="urn:microsoft.com/office/officeart/2005/8/layout/orgChart1"/>
    <dgm:cxn modelId="{C0C08F1B-A44F-4951-9FAA-4E1AF0374D73}" type="presParOf" srcId="{8EBF3569-414C-444A-82F4-1E2AB8C1CF12}" destId="{30128455-4856-4832-905F-9B5029ADCF77}" srcOrd="1" destOrd="0" presId="urn:microsoft.com/office/officeart/2005/8/layout/orgChart1"/>
    <dgm:cxn modelId="{DC4B21C4-161A-40AE-875A-57603DF9B56A}" type="presParOf" srcId="{8EBF3569-414C-444A-82F4-1E2AB8C1CF12}" destId="{B907855F-F851-4F88-96F5-8136C893BD47}" srcOrd="2" destOrd="0" presId="urn:microsoft.com/office/officeart/2005/8/layout/orgChart1"/>
    <dgm:cxn modelId="{FC858BB8-FF2F-4E42-BD00-6461B93863ED}" type="presParOf" srcId="{29CE8073-D253-4588-B954-7167D33B1947}" destId="{F6DF7D20-97CE-45B5-8272-1D8DFBF4322E}" srcOrd="8" destOrd="0" presId="urn:microsoft.com/office/officeart/2005/8/layout/orgChart1"/>
    <dgm:cxn modelId="{93DDC813-354E-46AB-AB3C-2C5B9EDBB891}" type="presParOf" srcId="{29CE8073-D253-4588-B954-7167D33B1947}" destId="{33DF2477-EB85-4B7E-BFD1-431DD797052F}" srcOrd="9" destOrd="0" presId="urn:microsoft.com/office/officeart/2005/8/layout/orgChart1"/>
    <dgm:cxn modelId="{335E0FC0-9214-4D93-BA4B-9E3EFDF98EA5}" type="presParOf" srcId="{33DF2477-EB85-4B7E-BFD1-431DD797052F}" destId="{981C2610-43E5-46F5-91D9-212743DD34A5}" srcOrd="0" destOrd="0" presId="urn:microsoft.com/office/officeart/2005/8/layout/orgChart1"/>
    <dgm:cxn modelId="{78B990B9-12C6-4BA3-985D-CA893FB4FCD9}" type="presParOf" srcId="{981C2610-43E5-46F5-91D9-212743DD34A5}" destId="{B48C34C0-3268-4BDA-9392-41361EEA60C6}" srcOrd="0" destOrd="0" presId="urn:microsoft.com/office/officeart/2005/8/layout/orgChart1"/>
    <dgm:cxn modelId="{C9B280A7-AA1E-4824-A12E-437402325787}" type="presParOf" srcId="{981C2610-43E5-46F5-91D9-212743DD34A5}" destId="{F4864036-80FA-4A2E-B84D-CE2A3973B0C9}" srcOrd="1" destOrd="0" presId="urn:microsoft.com/office/officeart/2005/8/layout/orgChart1"/>
    <dgm:cxn modelId="{5A34FE9E-0A52-45D4-8677-B86406B94AF7}" type="presParOf" srcId="{33DF2477-EB85-4B7E-BFD1-431DD797052F}" destId="{7DAFD94E-7849-48EA-9120-080EB3D68BB6}" srcOrd="1" destOrd="0" presId="urn:microsoft.com/office/officeart/2005/8/layout/orgChart1"/>
    <dgm:cxn modelId="{F7FD1A39-9F78-429A-A706-929F680B1A5B}" type="presParOf" srcId="{33DF2477-EB85-4B7E-BFD1-431DD797052F}" destId="{5A546465-A07C-44FA-A3D6-3DB7985C1CD2}" srcOrd="2" destOrd="0" presId="urn:microsoft.com/office/officeart/2005/8/layout/orgChart1"/>
    <dgm:cxn modelId="{7B27EDCB-3931-428C-A9F1-D0962C40E54E}" type="presParOf" srcId="{35CBA655-D40F-4A2B-B71A-711D392B5A84}" destId="{528156B2-647C-44D5-ABAD-EBDCDF85B348}" srcOrd="2" destOrd="0" presId="urn:microsoft.com/office/officeart/2005/8/layout/orgChart1"/>
    <dgm:cxn modelId="{ADB7D653-72CE-4916-8074-2464F46845BA}" type="presParOf" srcId="{25A00B3E-FEA8-439F-999E-8DB6BC95DBC0}" destId="{B87F60ED-85BE-4872-BA6E-CDCB9CBDC6A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39CACED-4357-4F54-B362-1BBD963F9528}" type="doc">
      <dgm:prSet loTypeId="urn:microsoft.com/office/officeart/2005/8/layout/orgChart1" loCatId="hierarchy" qsTypeId="urn:microsoft.com/office/officeart/2005/8/quickstyle/simple3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E83BED6-72D2-40AA-AEC0-E00DB39B7779}">
      <dgm:prSet custT="1"/>
      <dgm:spPr/>
      <dgm:t>
        <a:bodyPr/>
        <a:lstStyle/>
        <a:p>
          <a:pPr rtl="0"/>
          <a:r>
            <a:rPr lang="en-US" sz="2400" dirty="0" smtClean="0"/>
            <a:t>Performance</a:t>
          </a:r>
          <a:endParaRPr lang="en-US" sz="2400" dirty="0"/>
        </a:p>
      </dgm:t>
    </dgm:pt>
    <dgm:pt modelId="{E909CF10-A94C-40D0-809D-A965F0027C14}" type="parTrans" cxnId="{91BC3888-C210-44D4-8F45-F0177B94D3D3}">
      <dgm:prSet/>
      <dgm:spPr/>
      <dgm:t>
        <a:bodyPr/>
        <a:lstStyle/>
        <a:p>
          <a:endParaRPr lang="en-US" sz="3200"/>
        </a:p>
      </dgm:t>
    </dgm:pt>
    <dgm:pt modelId="{9473080E-8303-4337-BC53-BC75E476AFCF}" type="sibTrans" cxnId="{91BC3888-C210-44D4-8F45-F0177B94D3D3}">
      <dgm:prSet/>
      <dgm:spPr/>
      <dgm:t>
        <a:bodyPr/>
        <a:lstStyle/>
        <a:p>
          <a:endParaRPr lang="en-US" sz="3200"/>
        </a:p>
      </dgm:t>
    </dgm:pt>
    <dgm:pt modelId="{F71B3521-3C56-4052-BCD1-EA1D3EC6C481}">
      <dgm:prSet custT="1"/>
      <dgm:spPr/>
      <dgm:t>
        <a:bodyPr/>
        <a:lstStyle/>
        <a:p>
          <a:pPr rtl="0"/>
          <a:r>
            <a:rPr lang="en-US" sz="1600" smtClean="0"/>
            <a:t>Control Resource Demand</a:t>
          </a:r>
          <a:endParaRPr lang="en-US" sz="1600"/>
        </a:p>
      </dgm:t>
    </dgm:pt>
    <dgm:pt modelId="{A60FFF55-2885-42D8-80AE-7C93D2F114D2}" type="parTrans" cxnId="{BA53FF5F-979E-45BD-8AFE-0436ABBEBD48}">
      <dgm:prSet custT="1"/>
      <dgm:spPr/>
      <dgm:t>
        <a:bodyPr/>
        <a:lstStyle/>
        <a:p>
          <a:endParaRPr lang="en-US" sz="900"/>
        </a:p>
      </dgm:t>
    </dgm:pt>
    <dgm:pt modelId="{04C87A95-CE1A-40CE-BD04-BA16A5204ACD}" type="sibTrans" cxnId="{BA53FF5F-979E-45BD-8AFE-0436ABBEBD48}">
      <dgm:prSet/>
      <dgm:spPr/>
      <dgm:t>
        <a:bodyPr/>
        <a:lstStyle/>
        <a:p>
          <a:endParaRPr lang="en-US" sz="3200"/>
        </a:p>
      </dgm:t>
    </dgm:pt>
    <dgm:pt modelId="{52326B99-223E-4164-90D7-189BFAB66F0A}">
      <dgm:prSet custT="1"/>
      <dgm:spPr/>
      <dgm:t>
        <a:bodyPr/>
        <a:lstStyle/>
        <a:p>
          <a:pPr rtl="0"/>
          <a:r>
            <a:rPr lang="en-US" sz="1600" dirty="0" smtClean="0"/>
            <a:t>Reduce resource </a:t>
          </a:r>
          <a:r>
            <a:rPr lang="en-US" sz="1600" dirty="0" err="1" smtClean="0"/>
            <a:t>reqd</a:t>
          </a:r>
          <a:endParaRPr lang="en-US" sz="1600" dirty="0"/>
        </a:p>
      </dgm:t>
    </dgm:pt>
    <dgm:pt modelId="{43F9BBB7-7A45-4719-B812-E36462539D72}" type="parTrans" cxnId="{80AA12F1-72CF-4118-B799-EB126F2E4659}">
      <dgm:prSet custT="1"/>
      <dgm:spPr/>
      <dgm:t>
        <a:bodyPr/>
        <a:lstStyle/>
        <a:p>
          <a:endParaRPr lang="en-US" sz="900"/>
        </a:p>
      </dgm:t>
    </dgm:pt>
    <dgm:pt modelId="{6A06A137-FFCF-4AC8-A6A6-6CC520E649F9}" type="sibTrans" cxnId="{80AA12F1-72CF-4118-B799-EB126F2E4659}">
      <dgm:prSet/>
      <dgm:spPr/>
      <dgm:t>
        <a:bodyPr/>
        <a:lstStyle/>
        <a:p>
          <a:endParaRPr lang="en-US" sz="3200"/>
        </a:p>
      </dgm:t>
    </dgm:pt>
    <dgm:pt modelId="{E451B676-0CAC-406F-89E6-916AC8C8C93A}">
      <dgm:prSet custT="1"/>
      <dgm:spPr/>
      <dgm:t>
        <a:bodyPr/>
        <a:lstStyle/>
        <a:p>
          <a:pPr rtl="0"/>
          <a:r>
            <a:rPr lang="en-US" sz="1600" dirty="0" smtClean="0"/>
            <a:t>Increase in compute efficiency</a:t>
          </a:r>
          <a:endParaRPr lang="en-US" sz="1600" dirty="0"/>
        </a:p>
      </dgm:t>
    </dgm:pt>
    <dgm:pt modelId="{A452153C-2C8E-4105-89D1-F2A798AB2705}" type="parTrans" cxnId="{D905224C-9F43-4CD3-90EB-0488072EA899}">
      <dgm:prSet custT="1"/>
      <dgm:spPr/>
      <dgm:t>
        <a:bodyPr/>
        <a:lstStyle/>
        <a:p>
          <a:endParaRPr lang="en-US" sz="900"/>
        </a:p>
      </dgm:t>
    </dgm:pt>
    <dgm:pt modelId="{CBDF9A26-4D10-4197-9A88-511C33963680}" type="sibTrans" cxnId="{D905224C-9F43-4CD3-90EB-0488072EA899}">
      <dgm:prSet/>
      <dgm:spPr/>
      <dgm:t>
        <a:bodyPr/>
        <a:lstStyle/>
        <a:p>
          <a:endParaRPr lang="en-US" sz="3200"/>
        </a:p>
      </dgm:t>
    </dgm:pt>
    <dgm:pt modelId="{810B1EE7-ADA7-4515-A7BC-7AA700C89083}">
      <dgm:prSet custT="1"/>
      <dgm:spPr/>
      <dgm:t>
        <a:bodyPr/>
        <a:lstStyle/>
        <a:p>
          <a:pPr rtl="0"/>
          <a:r>
            <a:rPr lang="en-US" sz="1600" smtClean="0"/>
            <a:t>Reduce overhead</a:t>
          </a:r>
          <a:endParaRPr lang="en-US" sz="1600"/>
        </a:p>
      </dgm:t>
    </dgm:pt>
    <dgm:pt modelId="{688FDE0E-B158-4D2A-BD17-E32A7E92A590}" type="parTrans" cxnId="{21067F37-5C70-43C8-B9FA-046E8A81E312}">
      <dgm:prSet custT="1"/>
      <dgm:spPr/>
      <dgm:t>
        <a:bodyPr/>
        <a:lstStyle/>
        <a:p>
          <a:endParaRPr lang="en-US" sz="900"/>
        </a:p>
      </dgm:t>
    </dgm:pt>
    <dgm:pt modelId="{3F338A8F-D527-4D99-9FD4-7663FE18B3FB}" type="sibTrans" cxnId="{21067F37-5C70-43C8-B9FA-046E8A81E312}">
      <dgm:prSet/>
      <dgm:spPr/>
      <dgm:t>
        <a:bodyPr/>
        <a:lstStyle/>
        <a:p>
          <a:endParaRPr lang="en-US" sz="3200"/>
        </a:p>
      </dgm:t>
    </dgm:pt>
    <dgm:pt modelId="{E4F26A9D-442B-4CF3-B8A7-61AD103578AA}">
      <dgm:prSet custT="1"/>
      <dgm:spPr/>
      <dgm:t>
        <a:bodyPr/>
        <a:lstStyle/>
        <a:p>
          <a:pPr rtl="0"/>
          <a:r>
            <a:rPr lang="en-US" sz="1600" smtClean="0"/>
            <a:t>Reduce #of events</a:t>
          </a:r>
          <a:endParaRPr lang="en-US" sz="1600"/>
        </a:p>
      </dgm:t>
    </dgm:pt>
    <dgm:pt modelId="{7B7C413D-1FCC-4D9D-9F1C-BACFFAFF07D7}" type="parTrans" cxnId="{BFAD9CB4-B266-4ED1-B256-5B115E51A922}">
      <dgm:prSet custT="1"/>
      <dgm:spPr/>
      <dgm:t>
        <a:bodyPr/>
        <a:lstStyle/>
        <a:p>
          <a:endParaRPr lang="en-US" sz="900"/>
        </a:p>
      </dgm:t>
    </dgm:pt>
    <dgm:pt modelId="{A44C9AC1-0FD1-4891-8DAF-618E59E6EBED}" type="sibTrans" cxnId="{BFAD9CB4-B266-4ED1-B256-5B115E51A922}">
      <dgm:prSet/>
      <dgm:spPr/>
      <dgm:t>
        <a:bodyPr/>
        <a:lstStyle/>
        <a:p>
          <a:endParaRPr lang="en-US" sz="3200"/>
        </a:p>
      </dgm:t>
    </dgm:pt>
    <dgm:pt modelId="{7671B5D7-6326-4F5B-A653-3CAF4F85C317}">
      <dgm:prSet custT="1"/>
      <dgm:spPr/>
      <dgm:t>
        <a:bodyPr/>
        <a:lstStyle/>
        <a:p>
          <a:pPr rtl="0"/>
          <a:r>
            <a:rPr lang="en-US" sz="1600" smtClean="0"/>
            <a:t>Manage event rate</a:t>
          </a:r>
          <a:endParaRPr lang="en-US" sz="1600"/>
        </a:p>
      </dgm:t>
    </dgm:pt>
    <dgm:pt modelId="{7E5C29F3-5719-4E17-8CBB-86C58D1C392D}" type="parTrans" cxnId="{4E32FD09-72B4-4A0C-859E-E8EC0735A805}">
      <dgm:prSet custT="1"/>
      <dgm:spPr/>
      <dgm:t>
        <a:bodyPr/>
        <a:lstStyle/>
        <a:p>
          <a:endParaRPr lang="en-US" sz="900"/>
        </a:p>
      </dgm:t>
    </dgm:pt>
    <dgm:pt modelId="{E73BEF5A-7A13-4798-875B-3AF82E129181}" type="sibTrans" cxnId="{4E32FD09-72B4-4A0C-859E-E8EC0735A805}">
      <dgm:prSet/>
      <dgm:spPr/>
      <dgm:t>
        <a:bodyPr/>
        <a:lstStyle/>
        <a:p>
          <a:endParaRPr lang="en-US" sz="3200"/>
        </a:p>
      </dgm:t>
    </dgm:pt>
    <dgm:pt modelId="{3120464E-6024-475A-B833-ED05EB9364F6}">
      <dgm:prSet custT="1"/>
      <dgm:spPr/>
      <dgm:t>
        <a:bodyPr/>
        <a:lstStyle/>
        <a:p>
          <a:pPr rtl="0"/>
          <a:r>
            <a:rPr lang="en-US" sz="1600" dirty="0" smtClean="0"/>
            <a:t>Control sampling </a:t>
          </a:r>
          <a:r>
            <a:rPr lang="en-US" sz="1600" dirty="0" err="1" smtClean="0"/>
            <a:t>freq</a:t>
          </a:r>
          <a:endParaRPr lang="en-US" sz="1600" dirty="0"/>
        </a:p>
      </dgm:t>
    </dgm:pt>
    <dgm:pt modelId="{9C6E6B69-2180-480A-A2A4-BBF946CFBF3C}" type="parTrans" cxnId="{47B2ACAB-05D1-4DAF-8B40-5A7D70A3708E}">
      <dgm:prSet custT="1"/>
      <dgm:spPr/>
      <dgm:t>
        <a:bodyPr/>
        <a:lstStyle/>
        <a:p>
          <a:endParaRPr lang="en-US" sz="900"/>
        </a:p>
      </dgm:t>
    </dgm:pt>
    <dgm:pt modelId="{76E983C7-6E5F-439F-9C61-D3301964DD49}" type="sibTrans" cxnId="{47B2ACAB-05D1-4DAF-8B40-5A7D70A3708E}">
      <dgm:prSet/>
      <dgm:spPr/>
      <dgm:t>
        <a:bodyPr/>
        <a:lstStyle/>
        <a:p>
          <a:endParaRPr lang="en-US" sz="3200"/>
        </a:p>
      </dgm:t>
    </dgm:pt>
    <dgm:pt modelId="{F0813E2C-4806-4C65-8B5D-B3CAA55AB4B6}">
      <dgm:prSet custT="1"/>
      <dgm:spPr/>
      <dgm:t>
        <a:bodyPr/>
        <a:lstStyle/>
        <a:p>
          <a:pPr rtl="0"/>
          <a:r>
            <a:rPr lang="en-US" sz="1600" dirty="0" smtClean="0"/>
            <a:t>Control resource usage</a:t>
          </a:r>
          <a:endParaRPr lang="en-US" sz="1600" dirty="0"/>
        </a:p>
      </dgm:t>
    </dgm:pt>
    <dgm:pt modelId="{5C8FC595-5907-4E6D-A000-F6203E0A6DB2}" type="parTrans" cxnId="{AA254AB3-A982-43DF-BF08-2B63FC3E8ACF}">
      <dgm:prSet custT="1"/>
      <dgm:spPr/>
      <dgm:t>
        <a:bodyPr/>
        <a:lstStyle/>
        <a:p>
          <a:endParaRPr lang="en-US" sz="900"/>
        </a:p>
      </dgm:t>
    </dgm:pt>
    <dgm:pt modelId="{3964BBF3-C709-403C-B809-DE00E322985E}" type="sibTrans" cxnId="{AA254AB3-A982-43DF-BF08-2B63FC3E8ACF}">
      <dgm:prSet/>
      <dgm:spPr/>
      <dgm:t>
        <a:bodyPr/>
        <a:lstStyle/>
        <a:p>
          <a:endParaRPr lang="en-US" sz="3200"/>
        </a:p>
      </dgm:t>
    </dgm:pt>
    <dgm:pt modelId="{2024CE07-0840-4AFA-A285-8A332F9F0084}">
      <dgm:prSet custT="1"/>
      <dgm:spPr/>
      <dgm:t>
        <a:bodyPr/>
        <a:lstStyle/>
        <a:p>
          <a:pPr rtl="0"/>
          <a:r>
            <a:rPr lang="en-US" sz="1600" dirty="0" smtClean="0"/>
            <a:t>Bound execution time</a:t>
          </a:r>
          <a:endParaRPr lang="en-US" sz="1600" dirty="0"/>
        </a:p>
      </dgm:t>
    </dgm:pt>
    <dgm:pt modelId="{4ED415F9-59B2-4644-8650-A4A52C08AAF1}" type="parTrans" cxnId="{287E05F7-89BA-4B54-8AFF-77FBEBA79715}">
      <dgm:prSet custT="1"/>
      <dgm:spPr/>
      <dgm:t>
        <a:bodyPr/>
        <a:lstStyle/>
        <a:p>
          <a:endParaRPr lang="en-US" sz="900"/>
        </a:p>
      </dgm:t>
    </dgm:pt>
    <dgm:pt modelId="{25F22E91-CAE5-4C7C-9F8E-57A952A79A8E}" type="sibTrans" cxnId="{287E05F7-89BA-4B54-8AFF-77FBEBA79715}">
      <dgm:prSet/>
      <dgm:spPr/>
      <dgm:t>
        <a:bodyPr/>
        <a:lstStyle/>
        <a:p>
          <a:endParaRPr lang="en-US" sz="3200"/>
        </a:p>
      </dgm:t>
    </dgm:pt>
    <dgm:pt modelId="{7ACFD0D1-A2F7-4D8B-B016-D6307FF6BC97}">
      <dgm:prSet custT="1"/>
      <dgm:spPr/>
      <dgm:t>
        <a:bodyPr/>
        <a:lstStyle/>
        <a:p>
          <a:pPr rtl="0"/>
          <a:r>
            <a:rPr lang="en-US" sz="1600" dirty="0" smtClean="0"/>
            <a:t>Bound queue size</a:t>
          </a:r>
          <a:endParaRPr lang="en-US" sz="1600" dirty="0"/>
        </a:p>
      </dgm:t>
    </dgm:pt>
    <dgm:pt modelId="{17043636-82E3-4A58-BD54-255DAE385AA4}" type="parTrans" cxnId="{223C3792-783D-4965-8CFD-8BFA18063BE5}">
      <dgm:prSet custT="1"/>
      <dgm:spPr/>
      <dgm:t>
        <a:bodyPr/>
        <a:lstStyle/>
        <a:p>
          <a:endParaRPr lang="en-US" sz="900"/>
        </a:p>
      </dgm:t>
    </dgm:pt>
    <dgm:pt modelId="{447DFFCA-08FE-45A8-A203-ECEF4DEF995A}" type="sibTrans" cxnId="{223C3792-783D-4965-8CFD-8BFA18063BE5}">
      <dgm:prSet/>
      <dgm:spPr/>
      <dgm:t>
        <a:bodyPr/>
        <a:lstStyle/>
        <a:p>
          <a:endParaRPr lang="en-US" sz="3200"/>
        </a:p>
      </dgm:t>
    </dgm:pt>
    <dgm:pt modelId="{94FACFF2-580F-4E03-A72E-6A78D3F61A0D}">
      <dgm:prSet custT="1"/>
      <dgm:spPr/>
      <dgm:t>
        <a:bodyPr/>
        <a:lstStyle/>
        <a:p>
          <a:pPr rtl="0"/>
          <a:r>
            <a:rPr lang="en-US" sz="1600" dirty="0" smtClean="0"/>
            <a:t>Resource Management</a:t>
          </a:r>
          <a:endParaRPr lang="en-US" sz="1600" dirty="0"/>
        </a:p>
      </dgm:t>
    </dgm:pt>
    <dgm:pt modelId="{BBB07DC0-FEB0-41A7-994C-B6C0577FD4BB}" type="parTrans" cxnId="{68AE023E-F2C9-43DB-AF67-5F5A3881FC9A}">
      <dgm:prSet custT="1"/>
      <dgm:spPr/>
      <dgm:t>
        <a:bodyPr/>
        <a:lstStyle/>
        <a:p>
          <a:endParaRPr lang="en-US" sz="900"/>
        </a:p>
      </dgm:t>
    </dgm:pt>
    <dgm:pt modelId="{885E6A8D-99E2-48EC-9D08-E3ED777D83AC}" type="sibTrans" cxnId="{68AE023E-F2C9-43DB-AF67-5F5A3881FC9A}">
      <dgm:prSet/>
      <dgm:spPr/>
      <dgm:t>
        <a:bodyPr/>
        <a:lstStyle/>
        <a:p>
          <a:endParaRPr lang="en-US" sz="3200"/>
        </a:p>
      </dgm:t>
    </dgm:pt>
    <dgm:pt modelId="{930425C0-40A6-483D-B20A-ADF47FECA268}">
      <dgm:prSet custT="1"/>
      <dgm:spPr/>
      <dgm:t>
        <a:bodyPr/>
        <a:lstStyle/>
        <a:p>
          <a:pPr rtl="0"/>
          <a:r>
            <a:rPr lang="en-US" sz="1600" b="0" smtClean="0"/>
            <a:t>Increase concurrency</a:t>
          </a:r>
          <a:endParaRPr lang="en-US" sz="1600"/>
        </a:p>
      </dgm:t>
    </dgm:pt>
    <dgm:pt modelId="{D0A1B840-787D-4ED8-9FA8-82EFBF4A16ED}" type="parTrans" cxnId="{AEAF9D67-E660-462E-915D-DBA4FC31214E}">
      <dgm:prSet custT="1"/>
      <dgm:spPr/>
      <dgm:t>
        <a:bodyPr/>
        <a:lstStyle/>
        <a:p>
          <a:endParaRPr lang="en-US" sz="900"/>
        </a:p>
      </dgm:t>
    </dgm:pt>
    <dgm:pt modelId="{6EA20A79-F908-456E-9CB2-9415506673C5}" type="sibTrans" cxnId="{AEAF9D67-E660-462E-915D-DBA4FC31214E}">
      <dgm:prSet/>
      <dgm:spPr/>
      <dgm:t>
        <a:bodyPr/>
        <a:lstStyle/>
        <a:p>
          <a:endParaRPr lang="en-US" sz="3200"/>
        </a:p>
      </dgm:t>
    </dgm:pt>
    <dgm:pt modelId="{1026319C-D65E-47DE-B68C-CB11FC289573}">
      <dgm:prSet custT="1"/>
      <dgm:spPr/>
      <dgm:t>
        <a:bodyPr/>
        <a:lstStyle/>
        <a:p>
          <a:pPr rtl="0"/>
          <a:r>
            <a:rPr lang="en-US" sz="1600" dirty="0" smtClean="0"/>
            <a:t>Maintain multiple copies of data/ computation</a:t>
          </a:r>
          <a:endParaRPr lang="en-US" sz="1600" dirty="0"/>
        </a:p>
      </dgm:t>
    </dgm:pt>
    <dgm:pt modelId="{AC66B097-9A77-4B4E-88EB-CCA6711BE3A9}" type="parTrans" cxnId="{16D0589D-860A-4F46-BA1F-F5A87674EE29}">
      <dgm:prSet custT="1"/>
      <dgm:spPr/>
      <dgm:t>
        <a:bodyPr/>
        <a:lstStyle/>
        <a:p>
          <a:endParaRPr lang="en-US" sz="900"/>
        </a:p>
      </dgm:t>
    </dgm:pt>
    <dgm:pt modelId="{4C185AE5-94A0-4DC9-BF18-A322378B65E3}" type="sibTrans" cxnId="{16D0589D-860A-4F46-BA1F-F5A87674EE29}">
      <dgm:prSet/>
      <dgm:spPr/>
      <dgm:t>
        <a:bodyPr/>
        <a:lstStyle/>
        <a:p>
          <a:endParaRPr lang="en-US" sz="3200"/>
        </a:p>
      </dgm:t>
    </dgm:pt>
    <dgm:pt modelId="{B814C49C-8DAB-46CD-88C0-98D4B1FCF628}">
      <dgm:prSet custT="1"/>
      <dgm:spPr/>
      <dgm:t>
        <a:bodyPr/>
        <a:lstStyle/>
        <a:p>
          <a:pPr rtl="0"/>
          <a:r>
            <a:rPr lang="en-US" sz="1600" b="0" smtClean="0"/>
            <a:t>Increase Resource</a:t>
          </a:r>
          <a:endParaRPr lang="en-US" sz="1600"/>
        </a:p>
      </dgm:t>
    </dgm:pt>
    <dgm:pt modelId="{E66D0E20-5C3D-409D-809A-AF9EF574822C}" type="parTrans" cxnId="{ECE6AD1B-E202-4101-8BE3-577AB0E85D45}">
      <dgm:prSet custT="1"/>
      <dgm:spPr/>
      <dgm:t>
        <a:bodyPr/>
        <a:lstStyle/>
        <a:p>
          <a:endParaRPr lang="en-US" sz="900"/>
        </a:p>
      </dgm:t>
    </dgm:pt>
    <dgm:pt modelId="{BAB494CC-CDA7-4E3A-AAC9-7B11016243B3}" type="sibTrans" cxnId="{ECE6AD1B-E202-4101-8BE3-577AB0E85D45}">
      <dgm:prSet/>
      <dgm:spPr/>
      <dgm:t>
        <a:bodyPr/>
        <a:lstStyle/>
        <a:p>
          <a:endParaRPr lang="en-US" sz="3200"/>
        </a:p>
      </dgm:t>
    </dgm:pt>
    <dgm:pt modelId="{2CDD2A35-444D-4D71-92BA-C8B34D8CA909}">
      <dgm:prSet custT="1"/>
      <dgm:spPr/>
      <dgm:t>
        <a:bodyPr/>
        <a:lstStyle/>
        <a:p>
          <a:pPr rtl="0"/>
          <a:r>
            <a:rPr lang="en-US" sz="1600" smtClean="0"/>
            <a:t>Resource Arbitration</a:t>
          </a:r>
          <a:endParaRPr lang="en-US" sz="1600"/>
        </a:p>
      </dgm:t>
    </dgm:pt>
    <dgm:pt modelId="{5E6F2279-1A64-4664-9BDB-D1E6E052C3CB}" type="parTrans" cxnId="{627D6356-807D-4C8D-B05C-37459C390F38}">
      <dgm:prSet custT="1"/>
      <dgm:spPr/>
      <dgm:t>
        <a:bodyPr/>
        <a:lstStyle/>
        <a:p>
          <a:endParaRPr lang="en-US" sz="900"/>
        </a:p>
      </dgm:t>
    </dgm:pt>
    <dgm:pt modelId="{20FFD80E-CD8F-4EB4-9A9C-368F11DA1E34}" type="sibTrans" cxnId="{627D6356-807D-4C8D-B05C-37459C390F38}">
      <dgm:prSet/>
      <dgm:spPr/>
      <dgm:t>
        <a:bodyPr/>
        <a:lstStyle/>
        <a:p>
          <a:endParaRPr lang="en-US" sz="3200"/>
        </a:p>
      </dgm:t>
    </dgm:pt>
    <dgm:pt modelId="{4BFE5450-8F82-4A26-8FDF-DF7A6C482BF7}">
      <dgm:prSet custT="1"/>
      <dgm:spPr/>
      <dgm:t>
        <a:bodyPr/>
        <a:lstStyle/>
        <a:p>
          <a:pPr rtl="0"/>
          <a:r>
            <a:rPr lang="en-US" sz="1600" smtClean="0"/>
            <a:t>FIFO</a:t>
          </a:r>
          <a:endParaRPr lang="en-US" sz="1600"/>
        </a:p>
      </dgm:t>
    </dgm:pt>
    <dgm:pt modelId="{68FFA976-AE26-4683-8AEF-A4906C549929}" type="parTrans" cxnId="{403EDE93-A57A-4F9E-B3EE-F5B39722219E}">
      <dgm:prSet custT="1"/>
      <dgm:spPr/>
      <dgm:t>
        <a:bodyPr/>
        <a:lstStyle/>
        <a:p>
          <a:endParaRPr lang="en-US" sz="900"/>
        </a:p>
      </dgm:t>
    </dgm:pt>
    <dgm:pt modelId="{29569558-4D7A-4E00-A197-0DC2808CADE1}" type="sibTrans" cxnId="{403EDE93-A57A-4F9E-B3EE-F5B39722219E}">
      <dgm:prSet/>
      <dgm:spPr/>
      <dgm:t>
        <a:bodyPr/>
        <a:lstStyle/>
        <a:p>
          <a:endParaRPr lang="en-US" sz="3200"/>
        </a:p>
      </dgm:t>
    </dgm:pt>
    <dgm:pt modelId="{E153FD2F-958B-4501-A714-C375DBAA7B73}">
      <dgm:prSet custT="1"/>
      <dgm:spPr/>
      <dgm:t>
        <a:bodyPr/>
        <a:lstStyle/>
        <a:p>
          <a:pPr rtl="0"/>
          <a:r>
            <a:rPr lang="en-US" sz="1600" smtClean="0"/>
            <a:t>Scheduling policy</a:t>
          </a:r>
          <a:endParaRPr lang="en-US" sz="1600"/>
        </a:p>
      </dgm:t>
    </dgm:pt>
    <dgm:pt modelId="{37569E72-FE62-463B-985A-434A9B88A922}" type="parTrans" cxnId="{8261E12B-45A4-4AE4-A085-34D551051DF2}">
      <dgm:prSet custT="1"/>
      <dgm:spPr/>
      <dgm:t>
        <a:bodyPr/>
        <a:lstStyle/>
        <a:p>
          <a:endParaRPr lang="en-US" sz="900"/>
        </a:p>
      </dgm:t>
    </dgm:pt>
    <dgm:pt modelId="{813871F4-893C-45CA-90CA-14A824331AF1}" type="sibTrans" cxnId="{8261E12B-45A4-4AE4-A085-34D551051DF2}">
      <dgm:prSet/>
      <dgm:spPr/>
      <dgm:t>
        <a:bodyPr/>
        <a:lstStyle/>
        <a:p>
          <a:endParaRPr lang="en-US" sz="3200"/>
        </a:p>
      </dgm:t>
    </dgm:pt>
    <dgm:pt modelId="{2200EFBE-E51B-40A8-A3E2-1D0324F302C7}">
      <dgm:prSet custT="1"/>
      <dgm:spPr/>
      <dgm:t>
        <a:bodyPr/>
        <a:lstStyle/>
        <a:p>
          <a:pPr rtl="0"/>
          <a:r>
            <a:rPr lang="en-US" sz="1600" smtClean="0"/>
            <a:t>Static </a:t>
          </a:r>
          <a:endParaRPr lang="en-US" sz="1600"/>
        </a:p>
      </dgm:t>
    </dgm:pt>
    <dgm:pt modelId="{1B74D045-C566-437F-BAD9-2E5044FD5BC2}" type="parTrans" cxnId="{622C97C6-A014-496D-9ABC-01BCAE9C902F}">
      <dgm:prSet custT="1"/>
      <dgm:spPr/>
      <dgm:t>
        <a:bodyPr/>
        <a:lstStyle/>
        <a:p>
          <a:endParaRPr lang="en-US" sz="900"/>
        </a:p>
      </dgm:t>
    </dgm:pt>
    <dgm:pt modelId="{467E0E56-FE40-425D-B073-0E8D99971773}" type="sibTrans" cxnId="{622C97C6-A014-496D-9ABC-01BCAE9C902F}">
      <dgm:prSet/>
      <dgm:spPr/>
      <dgm:t>
        <a:bodyPr/>
        <a:lstStyle/>
        <a:p>
          <a:endParaRPr lang="en-US" sz="3200"/>
        </a:p>
      </dgm:t>
    </dgm:pt>
    <dgm:pt modelId="{DF1F2610-331D-40FA-BF9D-6EDF9EFE51A9}">
      <dgm:prSet custT="1"/>
      <dgm:spPr/>
      <dgm:t>
        <a:bodyPr/>
        <a:lstStyle/>
        <a:p>
          <a:pPr rtl="0"/>
          <a:r>
            <a:rPr lang="en-US" sz="1600" smtClean="0"/>
            <a:t>Dynamic priority</a:t>
          </a:r>
          <a:endParaRPr lang="en-US" sz="1600"/>
        </a:p>
      </dgm:t>
    </dgm:pt>
    <dgm:pt modelId="{0F371CAE-D9D2-46D9-8B94-DA36E13C6AD2}" type="parTrans" cxnId="{1E27E3D6-4258-41F0-A036-70EBDD7987F0}">
      <dgm:prSet custT="1"/>
      <dgm:spPr/>
      <dgm:t>
        <a:bodyPr/>
        <a:lstStyle/>
        <a:p>
          <a:endParaRPr lang="en-US" sz="900"/>
        </a:p>
      </dgm:t>
    </dgm:pt>
    <dgm:pt modelId="{42F110AA-9D8C-489A-8265-CF1111F09DD2}" type="sibTrans" cxnId="{1E27E3D6-4258-41F0-A036-70EBDD7987F0}">
      <dgm:prSet/>
      <dgm:spPr/>
      <dgm:t>
        <a:bodyPr/>
        <a:lstStyle/>
        <a:p>
          <a:endParaRPr lang="en-US" sz="3200"/>
        </a:p>
      </dgm:t>
    </dgm:pt>
    <dgm:pt modelId="{22411C1A-32C3-429F-B62A-F788CAD2365E}">
      <dgm:prSet custT="1"/>
      <dgm:spPr/>
      <dgm:t>
        <a:bodyPr/>
        <a:lstStyle/>
        <a:p>
          <a:pPr rtl="0"/>
          <a:r>
            <a:rPr lang="en-US" sz="1600" smtClean="0"/>
            <a:t>Fixed priority</a:t>
          </a:r>
          <a:endParaRPr lang="en-US" sz="1600"/>
        </a:p>
      </dgm:t>
    </dgm:pt>
    <dgm:pt modelId="{38E38FE5-60BB-4700-B80B-60E945994C77}" type="parTrans" cxnId="{8E13874A-667D-49C8-AE83-125151F6BEEC}">
      <dgm:prSet custT="1"/>
      <dgm:spPr/>
      <dgm:t>
        <a:bodyPr/>
        <a:lstStyle/>
        <a:p>
          <a:endParaRPr lang="en-US" sz="900"/>
        </a:p>
      </dgm:t>
    </dgm:pt>
    <dgm:pt modelId="{54F2324B-9E8E-466F-9361-F9134718D6FF}" type="sibTrans" cxnId="{8E13874A-667D-49C8-AE83-125151F6BEEC}">
      <dgm:prSet/>
      <dgm:spPr/>
      <dgm:t>
        <a:bodyPr/>
        <a:lstStyle/>
        <a:p>
          <a:endParaRPr lang="en-US" sz="3200"/>
        </a:p>
      </dgm:t>
    </dgm:pt>
    <dgm:pt modelId="{28859B5A-0B83-443C-ADF5-F37810593438}" type="pres">
      <dgm:prSet presAssocID="{E39CACED-4357-4F54-B362-1BBD963F952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F6F7935D-6530-4593-AE5C-8F4559AFEF00}" type="pres">
      <dgm:prSet presAssocID="{DE83BED6-72D2-40AA-AEC0-E00DB39B7779}" presName="hierRoot1" presStyleCnt="0">
        <dgm:presLayoutVars>
          <dgm:hierBranch val="init"/>
        </dgm:presLayoutVars>
      </dgm:prSet>
      <dgm:spPr/>
    </dgm:pt>
    <dgm:pt modelId="{83F13196-00FF-420F-91B3-7265F9DA2E35}" type="pres">
      <dgm:prSet presAssocID="{DE83BED6-72D2-40AA-AEC0-E00DB39B7779}" presName="rootComposite1" presStyleCnt="0"/>
      <dgm:spPr/>
    </dgm:pt>
    <dgm:pt modelId="{38BA7490-6ACB-4B33-883C-6FA120FC9D65}" type="pres">
      <dgm:prSet presAssocID="{DE83BED6-72D2-40AA-AEC0-E00DB39B7779}" presName="rootText1" presStyleLbl="node0" presStyleIdx="0" presStyleCnt="1" custScaleX="172982" custLinFactNeighborY="-3428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80577D9-CE59-4684-96DE-28BAE8831EA2}" type="pres">
      <dgm:prSet presAssocID="{DE83BED6-72D2-40AA-AEC0-E00DB39B7779}" presName="rootConnector1" presStyleLbl="node1" presStyleIdx="0" presStyleCnt="0"/>
      <dgm:spPr/>
      <dgm:t>
        <a:bodyPr/>
        <a:lstStyle/>
        <a:p>
          <a:endParaRPr lang="en-US"/>
        </a:p>
      </dgm:t>
    </dgm:pt>
    <dgm:pt modelId="{7CEDCA83-5FB1-4912-AF43-4BFEBFF2F37F}" type="pres">
      <dgm:prSet presAssocID="{DE83BED6-72D2-40AA-AEC0-E00DB39B7779}" presName="hierChild2" presStyleCnt="0"/>
      <dgm:spPr/>
    </dgm:pt>
    <dgm:pt modelId="{FFA55980-77AF-44D0-A3F7-3BC269961AEC}" type="pres">
      <dgm:prSet presAssocID="{A60FFF55-2885-42D8-80AE-7C93D2F114D2}" presName="Name37" presStyleLbl="parChTrans1D2" presStyleIdx="0" presStyleCnt="3"/>
      <dgm:spPr/>
      <dgm:t>
        <a:bodyPr/>
        <a:lstStyle/>
        <a:p>
          <a:endParaRPr lang="en-US"/>
        </a:p>
      </dgm:t>
    </dgm:pt>
    <dgm:pt modelId="{00081117-45A1-413A-B1E7-872F21D2B3AC}" type="pres">
      <dgm:prSet presAssocID="{F71B3521-3C56-4052-BCD1-EA1D3EC6C481}" presName="hierRoot2" presStyleCnt="0">
        <dgm:presLayoutVars>
          <dgm:hierBranch val="init"/>
        </dgm:presLayoutVars>
      </dgm:prSet>
      <dgm:spPr/>
    </dgm:pt>
    <dgm:pt modelId="{04D54B35-6050-4549-B9DB-88983911643A}" type="pres">
      <dgm:prSet presAssocID="{F71B3521-3C56-4052-BCD1-EA1D3EC6C481}" presName="rootComposite" presStyleCnt="0"/>
      <dgm:spPr/>
    </dgm:pt>
    <dgm:pt modelId="{029320F6-83FB-4A89-9054-D9E9E12EE9BC}" type="pres">
      <dgm:prSet presAssocID="{F71B3521-3C56-4052-BCD1-EA1D3EC6C481}" presName="rootText" presStyleLbl="node2" presStyleIdx="0" presStyleCnt="3" custScaleX="14022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091A536-36A1-4130-9339-8B801A1F2803}" type="pres">
      <dgm:prSet presAssocID="{F71B3521-3C56-4052-BCD1-EA1D3EC6C481}" presName="rootConnector" presStyleLbl="node2" presStyleIdx="0" presStyleCnt="3"/>
      <dgm:spPr/>
      <dgm:t>
        <a:bodyPr/>
        <a:lstStyle/>
        <a:p>
          <a:endParaRPr lang="en-US"/>
        </a:p>
      </dgm:t>
    </dgm:pt>
    <dgm:pt modelId="{FF10DB19-2D38-4AA7-9618-B663B1423350}" type="pres">
      <dgm:prSet presAssocID="{F71B3521-3C56-4052-BCD1-EA1D3EC6C481}" presName="hierChild4" presStyleCnt="0"/>
      <dgm:spPr/>
    </dgm:pt>
    <dgm:pt modelId="{AC2F14F4-F80C-499C-898D-658D05F28B49}" type="pres">
      <dgm:prSet presAssocID="{43F9BBB7-7A45-4719-B812-E36462539D72}" presName="Name37" presStyleLbl="parChTrans1D3" presStyleIdx="0" presStyleCnt="8"/>
      <dgm:spPr/>
      <dgm:t>
        <a:bodyPr/>
        <a:lstStyle/>
        <a:p>
          <a:endParaRPr lang="en-US"/>
        </a:p>
      </dgm:t>
    </dgm:pt>
    <dgm:pt modelId="{4CBFBE2A-E49D-4A7B-ADC8-03FEEFC476A9}" type="pres">
      <dgm:prSet presAssocID="{52326B99-223E-4164-90D7-189BFAB66F0A}" presName="hierRoot2" presStyleCnt="0">
        <dgm:presLayoutVars>
          <dgm:hierBranch val="init"/>
        </dgm:presLayoutVars>
      </dgm:prSet>
      <dgm:spPr/>
    </dgm:pt>
    <dgm:pt modelId="{611245A0-6B2F-4851-A3A4-48E2F2F08A53}" type="pres">
      <dgm:prSet presAssocID="{52326B99-223E-4164-90D7-189BFAB66F0A}" presName="rootComposite" presStyleCnt="0"/>
      <dgm:spPr/>
    </dgm:pt>
    <dgm:pt modelId="{5A63B776-8325-407C-949F-EF4E998D6E29}" type="pres">
      <dgm:prSet presAssocID="{52326B99-223E-4164-90D7-189BFAB66F0A}" presName="rootText" presStyleLbl="node3" presStyleIdx="0" presStyleCnt="8" custScaleY="17074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A2A6560-D5A2-4CB4-B870-C2758A3902AA}" type="pres">
      <dgm:prSet presAssocID="{52326B99-223E-4164-90D7-189BFAB66F0A}" presName="rootConnector" presStyleLbl="node3" presStyleIdx="0" presStyleCnt="8"/>
      <dgm:spPr/>
      <dgm:t>
        <a:bodyPr/>
        <a:lstStyle/>
        <a:p>
          <a:endParaRPr lang="en-US"/>
        </a:p>
      </dgm:t>
    </dgm:pt>
    <dgm:pt modelId="{5652B142-197D-4B9C-A5CA-3F981E5F4F94}" type="pres">
      <dgm:prSet presAssocID="{52326B99-223E-4164-90D7-189BFAB66F0A}" presName="hierChild4" presStyleCnt="0"/>
      <dgm:spPr/>
    </dgm:pt>
    <dgm:pt modelId="{2A285E9D-B462-4456-8ED7-DDC2E8C76837}" type="pres">
      <dgm:prSet presAssocID="{A452153C-2C8E-4105-89D1-F2A798AB2705}" presName="Name37" presStyleLbl="parChTrans1D4" presStyleIdx="0" presStyleCnt="9"/>
      <dgm:spPr/>
      <dgm:t>
        <a:bodyPr/>
        <a:lstStyle/>
        <a:p>
          <a:endParaRPr lang="en-US"/>
        </a:p>
      </dgm:t>
    </dgm:pt>
    <dgm:pt modelId="{A0E18524-3B09-4688-9F9F-87AB30720A98}" type="pres">
      <dgm:prSet presAssocID="{E451B676-0CAC-406F-89E6-916AC8C8C93A}" presName="hierRoot2" presStyleCnt="0">
        <dgm:presLayoutVars>
          <dgm:hierBranch val="init"/>
        </dgm:presLayoutVars>
      </dgm:prSet>
      <dgm:spPr/>
    </dgm:pt>
    <dgm:pt modelId="{C01B0461-EEC3-4E13-A59D-BE7F52E75A87}" type="pres">
      <dgm:prSet presAssocID="{E451B676-0CAC-406F-89E6-916AC8C8C93A}" presName="rootComposite" presStyleCnt="0"/>
      <dgm:spPr/>
    </dgm:pt>
    <dgm:pt modelId="{EC11BC86-6BAE-45D5-BE76-F78A05459AB0}" type="pres">
      <dgm:prSet presAssocID="{E451B676-0CAC-406F-89E6-916AC8C8C93A}" presName="rootText" presStyleLbl="node4" presStyleIdx="0" presStyleCnt="9" custScaleY="16038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1904FC6-72D9-49E0-9284-1C5AB229A040}" type="pres">
      <dgm:prSet presAssocID="{E451B676-0CAC-406F-89E6-916AC8C8C93A}" presName="rootConnector" presStyleLbl="node4" presStyleIdx="0" presStyleCnt="9"/>
      <dgm:spPr/>
      <dgm:t>
        <a:bodyPr/>
        <a:lstStyle/>
        <a:p>
          <a:endParaRPr lang="en-US"/>
        </a:p>
      </dgm:t>
    </dgm:pt>
    <dgm:pt modelId="{B1958780-B180-4D09-813D-3FFCFB6D6A41}" type="pres">
      <dgm:prSet presAssocID="{E451B676-0CAC-406F-89E6-916AC8C8C93A}" presName="hierChild4" presStyleCnt="0"/>
      <dgm:spPr/>
    </dgm:pt>
    <dgm:pt modelId="{A514FABF-9D63-4365-8AA0-DAE0293AA92A}" type="pres">
      <dgm:prSet presAssocID="{E451B676-0CAC-406F-89E6-916AC8C8C93A}" presName="hierChild5" presStyleCnt="0"/>
      <dgm:spPr/>
    </dgm:pt>
    <dgm:pt modelId="{DA2BD802-BF83-415A-AED6-A8AEE65C718B}" type="pres">
      <dgm:prSet presAssocID="{688FDE0E-B158-4D2A-BD17-E32A7E92A590}" presName="Name37" presStyleLbl="parChTrans1D4" presStyleIdx="1" presStyleCnt="9"/>
      <dgm:spPr/>
      <dgm:t>
        <a:bodyPr/>
        <a:lstStyle/>
        <a:p>
          <a:endParaRPr lang="en-US"/>
        </a:p>
      </dgm:t>
    </dgm:pt>
    <dgm:pt modelId="{87CE19AB-47C5-400D-8A20-2D627BDEC313}" type="pres">
      <dgm:prSet presAssocID="{810B1EE7-ADA7-4515-A7BC-7AA700C89083}" presName="hierRoot2" presStyleCnt="0">
        <dgm:presLayoutVars>
          <dgm:hierBranch val="init"/>
        </dgm:presLayoutVars>
      </dgm:prSet>
      <dgm:spPr/>
    </dgm:pt>
    <dgm:pt modelId="{C7CB3C31-96F3-45F2-9490-029EC35187A7}" type="pres">
      <dgm:prSet presAssocID="{810B1EE7-ADA7-4515-A7BC-7AA700C89083}" presName="rootComposite" presStyleCnt="0"/>
      <dgm:spPr/>
    </dgm:pt>
    <dgm:pt modelId="{C7CAA8CC-E8AB-4416-AC75-95F821E67A5E}" type="pres">
      <dgm:prSet presAssocID="{810B1EE7-ADA7-4515-A7BC-7AA700C89083}" presName="rootText" presStyleLbl="node4" presStyleIdx="1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B63BB0F-846E-4658-8317-2D639E924898}" type="pres">
      <dgm:prSet presAssocID="{810B1EE7-ADA7-4515-A7BC-7AA700C89083}" presName="rootConnector" presStyleLbl="node4" presStyleIdx="1" presStyleCnt="9"/>
      <dgm:spPr/>
      <dgm:t>
        <a:bodyPr/>
        <a:lstStyle/>
        <a:p>
          <a:endParaRPr lang="en-US"/>
        </a:p>
      </dgm:t>
    </dgm:pt>
    <dgm:pt modelId="{5DF7D52E-E6F0-4B9B-B745-37DDD18BC703}" type="pres">
      <dgm:prSet presAssocID="{810B1EE7-ADA7-4515-A7BC-7AA700C89083}" presName="hierChild4" presStyleCnt="0"/>
      <dgm:spPr/>
    </dgm:pt>
    <dgm:pt modelId="{1D73D43A-92BE-4D5C-9170-CC170013A0BE}" type="pres">
      <dgm:prSet presAssocID="{810B1EE7-ADA7-4515-A7BC-7AA700C89083}" presName="hierChild5" presStyleCnt="0"/>
      <dgm:spPr/>
    </dgm:pt>
    <dgm:pt modelId="{478812A8-6644-4BDA-9BD5-4197CB329005}" type="pres">
      <dgm:prSet presAssocID="{52326B99-223E-4164-90D7-189BFAB66F0A}" presName="hierChild5" presStyleCnt="0"/>
      <dgm:spPr/>
    </dgm:pt>
    <dgm:pt modelId="{DD6034CB-E414-4170-8B00-5686E0E374AF}" type="pres">
      <dgm:prSet presAssocID="{7B7C413D-1FCC-4D9D-9F1C-BACFFAFF07D7}" presName="Name37" presStyleLbl="parChTrans1D3" presStyleIdx="1" presStyleCnt="8"/>
      <dgm:spPr/>
      <dgm:t>
        <a:bodyPr/>
        <a:lstStyle/>
        <a:p>
          <a:endParaRPr lang="en-US"/>
        </a:p>
      </dgm:t>
    </dgm:pt>
    <dgm:pt modelId="{9D8527AD-E679-4383-8B4C-CC91C60E6EE1}" type="pres">
      <dgm:prSet presAssocID="{E4F26A9D-442B-4CF3-B8A7-61AD103578AA}" presName="hierRoot2" presStyleCnt="0">
        <dgm:presLayoutVars>
          <dgm:hierBranch val="init"/>
        </dgm:presLayoutVars>
      </dgm:prSet>
      <dgm:spPr/>
    </dgm:pt>
    <dgm:pt modelId="{1190FBA8-42EB-46E4-8E8B-EB5519E379A6}" type="pres">
      <dgm:prSet presAssocID="{E4F26A9D-442B-4CF3-B8A7-61AD103578AA}" presName="rootComposite" presStyleCnt="0"/>
      <dgm:spPr/>
    </dgm:pt>
    <dgm:pt modelId="{63FC501E-E654-41F7-BA6A-0BF70B2D3C70}" type="pres">
      <dgm:prSet presAssocID="{E4F26A9D-442B-4CF3-B8A7-61AD103578AA}" presName="rootText" presStyleLbl="node3" presStyleIdx="1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C7A89E5-BCC5-49F8-9C2E-B40770C21629}" type="pres">
      <dgm:prSet presAssocID="{E4F26A9D-442B-4CF3-B8A7-61AD103578AA}" presName="rootConnector" presStyleLbl="node3" presStyleIdx="1" presStyleCnt="8"/>
      <dgm:spPr/>
      <dgm:t>
        <a:bodyPr/>
        <a:lstStyle/>
        <a:p>
          <a:endParaRPr lang="en-US"/>
        </a:p>
      </dgm:t>
    </dgm:pt>
    <dgm:pt modelId="{D826AFC1-BBC9-410E-B541-8B98E3D3FD15}" type="pres">
      <dgm:prSet presAssocID="{E4F26A9D-442B-4CF3-B8A7-61AD103578AA}" presName="hierChild4" presStyleCnt="0"/>
      <dgm:spPr/>
    </dgm:pt>
    <dgm:pt modelId="{7ECEA8CD-85C0-4A0E-A40C-3A0438CC7C86}" type="pres">
      <dgm:prSet presAssocID="{7E5C29F3-5719-4E17-8CBB-86C58D1C392D}" presName="Name37" presStyleLbl="parChTrans1D4" presStyleIdx="2" presStyleCnt="9"/>
      <dgm:spPr/>
      <dgm:t>
        <a:bodyPr/>
        <a:lstStyle/>
        <a:p>
          <a:endParaRPr lang="en-US"/>
        </a:p>
      </dgm:t>
    </dgm:pt>
    <dgm:pt modelId="{87812549-AABF-4D73-9A8B-37EBF8EF116C}" type="pres">
      <dgm:prSet presAssocID="{7671B5D7-6326-4F5B-A653-3CAF4F85C317}" presName="hierRoot2" presStyleCnt="0">
        <dgm:presLayoutVars>
          <dgm:hierBranch val="init"/>
        </dgm:presLayoutVars>
      </dgm:prSet>
      <dgm:spPr/>
    </dgm:pt>
    <dgm:pt modelId="{3415D6A5-33D8-42A5-AD9D-A1E1F4776985}" type="pres">
      <dgm:prSet presAssocID="{7671B5D7-6326-4F5B-A653-3CAF4F85C317}" presName="rootComposite" presStyleCnt="0"/>
      <dgm:spPr/>
    </dgm:pt>
    <dgm:pt modelId="{F262B25E-D781-4D44-82CD-CC9D501578F2}" type="pres">
      <dgm:prSet presAssocID="{7671B5D7-6326-4F5B-A653-3CAF4F85C317}" presName="rootText" presStyleLbl="node4" presStyleIdx="2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04D762D-C028-4DB9-B788-4204A181D9A3}" type="pres">
      <dgm:prSet presAssocID="{7671B5D7-6326-4F5B-A653-3CAF4F85C317}" presName="rootConnector" presStyleLbl="node4" presStyleIdx="2" presStyleCnt="9"/>
      <dgm:spPr/>
      <dgm:t>
        <a:bodyPr/>
        <a:lstStyle/>
        <a:p>
          <a:endParaRPr lang="en-US"/>
        </a:p>
      </dgm:t>
    </dgm:pt>
    <dgm:pt modelId="{2FEEEB36-A297-473C-B198-562323531387}" type="pres">
      <dgm:prSet presAssocID="{7671B5D7-6326-4F5B-A653-3CAF4F85C317}" presName="hierChild4" presStyleCnt="0"/>
      <dgm:spPr/>
    </dgm:pt>
    <dgm:pt modelId="{A33A5E1E-951D-4041-9E5F-120E0E95505E}" type="pres">
      <dgm:prSet presAssocID="{7671B5D7-6326-4F5B-A653-3CAF4F85C317}" presName="hierChild5" presStyleCnt="0"/>
      <dgm:spPr/>
    </dgm:pt>
    <dgm:pt modelId="{610B7A79-132C-4674-BEC6-DB17C8FE71CA}" type="pres">
      <dgm:prSet presAssocID="{9C6E6B69-2180-480A-A2A4-BBF946CFBF3C}" presName="Name37" presStyleLbl="parChTrans1D4" presStyleIdx="3" presStyleCnt="9"/>
      <dgm:spPr/>
      <dgm:t>
        <a:bodyPr/>
        <a:lstStyle/>
        <a:p>
          <a:endParaRPr lang="en-US"/>
        </a:p>
      </dgm:t>
    </dgm:pt>
    <dgm:pt modelId="{EFF9300A-F41C-447E-9B35-8848F9226025}" type="pres">
      <dgm:prSet presAssocID="{3120464E-6024-475A-B833-ED05EB9364F6}" presName="hierRoot2" presStyleCnt="0">
        <dgm:presLayoutVars>
          <dgm:hierBranch val="init"/>
        </dgm:presLayoutVars>
      </dgm:prSet>
      <dgm:spPr/>
    </dgm:pt>
    <dgm:pt modelId="{586FCB4C-1C23-4C55-A4FC-2B9CB27DA8D2}" type="pres">
      <dgm:prSet presAssocID="{3120464E-6024-475A-B833-ED05EB9364F6}" presName="rootComposite" presStyleCnt="0"/>
      <dgm:spPr/>
    </dgm:pt>
    <dgm:pt modelId="{1B48FE02-8066-4510-AB7C-F56BD51BDF4B}" type="pres">
      <dgm:prSet presAssocID="{3120464E-6024-475A-B833-ED05EB9364F6}" presName="rootText" presStyleLbl="node4" presStyleIdx="3" presStyleCnt="9" custScaleY="15093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175C515-C5ED-4B79-BB93-B05E49C0C9B4}" type="pres">
      <dgm:prSet presAssocID="{3120464E-6024-475A-B833-ED05EB9364F6}" presName="rootConnector" presStyleLbl="node4" presStyleIdx="3" presStyleCnt="9"/>
      <dgm:spPr/>
      <dgm:t>
        <a:bodyPr/>
        <a:lstStyle/>
        <a:p>
          <a:endParaRPr lang="en-US"/>
        </a:p>
      </dgm:t>
    </dgm:pt>
    <dgm:pt modelId="{79FB3EC3-D2A3-4A0E-86AC-9457964357E2}" type="pres">
      <dgm:prSet presAssocID="{3120464E-6024-475A-B833-ED05EB9364F6}" presName="hierChild4" presStyleCnt="0"/>
      <dgm:spPr/>
    </dgm:pt>
    <dgm:pt modelId="{7A17123B-F7FA-4082-897A-3A81A00B25F8}" type="pres">
      <dgm:prSet presAssocID="{3120464E-6024-475A-B833-ED05EB9364F6}" presName="hierChild5" presStyleCnt="0"/>
      <dgm:spPr/>
    </dgm:pt>
    <dgm:pt modelId="{7A919AB5-DA74-427B-B2CE-A7E19C5F2F89}" type="pres">
      <dgm:prSet presAssocID="{E4F26A9D-442B-4CF3-B8A7-61AD103578AA}" presName="hierChild5" presStyleCnt="0"/>
      <dgm:spPr/>
    </dgm:pt>
    <dgm:pt modelId="{4C90B3C0-311B-4985-BF2C-4868A2BA2053}" type="pres">
      <dgm:prSet presAssocID="{5C8FC595-5907-4E6D-A000-F6203E0A6DB2}" presName="Name37" presStyleLbl="parChTrans1D3" presStyleIdx="2" presStyleCnt="8"/>
      <dgm:spPr/>
      <dgm:t>
        <a:bodyPr/>
        <a:lstStyle/>
        <a:p>
          <a:endParaRPr lang="en-US"/>
        </a:p>
      </dgm:t>
    </dgm:pt>
    <dgm:pt modelId="{25704ECB-93D8-4AAC-B943-6E7B88880350}" type="pres">
      <dgm:prSet presAssocID="{F0813E2C-4806-4C65-8B5D-B3CAA55AB4B6}" presName="hierRoot2" presStyleCnt="0">
        <dgm:presLayoutVars>
          <dgm:hierBranch val="init"/>
        </dgm:presLayoutVars>
      </dgm:prSet>
      <dgm:spPr/>
    </dgm:pt>
    <dgm:pt modelId="{1F5B4E8F-4078-402B-8BF9-03AF95F29C06}" type="pres">
      <dgm:prSet presAssocID="{F0813E2C-4806-4C65-8B5D-B3CAA55AB4B6}" presName="rootComposite" presStyleCnt="0"/>
      <dgm:spPr/>
    </dgm:pt>
    <dgm:pt modelId="{7E66F63D-8FA6-42BB-A62A-C349B7EA69C6}" type="pres">
      <dgm:prSet presAssocID="{F0813E2C-4806-4C65-8B5D-B3CAA55AB4B6}" presName="rootText" presStyleLbl="node3" presStyleIdx="2" presStyleCnt="8" custScaleY="15491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C10B860-36A0-4961-8079-9E6BE51EC74E}" type="pres">
      <dgm:prSet presAssocID="{F0813E2C-4806-4C65-8B5D-B3CAA55AB4B6}" presName="rootConnector" presStyleLbl="node3" presStyleIdx="2" presStyleCnt="8"/>
      <dgm:spPr/>
      <dgm:t>
        <a:bodyPr/>
        <a:lstStyle/>
        <a:p>
          <a:endParaRPr lang="en-US"/>
        </a:p>
      </dgm:t>
    </dgm:pt>
    <dgm:pt modelId="{A346BA09-C0FB-44FE-94ED-E84F1458A182}" type="pres">
      <dgm:prSet presAssocID="{F0813E2C-4806-4C65-8B5D-B3CAA55AB4B6}" presName="hierChild4" presStyleCnt="0"/>
      <dgm:spPr/>
    </dgm:pt>
    <dgm:pt modelId="{3BCCE23A-CC94-4B5F-B13D-CB73BFAE0403}" type="pres">
      <dgm:prSet presAssocID="{4ED415F9-59B2-4644-8650-A4A52C08AAF1}" presName="Name37" presStyleLbl="parChTrans1D4" presStyleIdx="4" presStyleCnt="9"/>
      <dgm:spPr/>
      <dgm:t>
        <a:bodyPr/>
        <a:lstStyle/>
        <a:p>
          <a:endParaRPr lang="en-US"/>
        </a:p>
      </dgm:t>
    </dgm:pt>
    <dgm:pt modelId="{DD13E5E2-1B9C-48EC-990C-B31E25E119BE}" type="pres">
      <dgm:prSet presAssocID="{2024CE07-0840-4AFA-A285-8A332F9F0084}" presName="hierRoot2" presStyleCnt="0">
        <dgm:presLayoutVars>
          <dgm:hierBranch val="init"/>
        </dgm:presLayoutVars>
      </dgm:prSet>
      <dgm:spPr/>
    </dgm:pt>
    <dgm:pt modelId="{93488B8D-5BB0-4299-8DA0-2B61FC1C7E27}" type="pres">
      <dgm:prSet presAssocID="{2024CE07-0840-4AFA-A285-8A332F9F0084}" presName="rootComposite" presStyleCnt="0"/>
      <dgm:spPr/>
    </dgm:pt>
    <dgm:pt modelId="{A45277E3-0420-4505-9B32-E8C33D91C7D0}" type="pres">
      <dgm:prSet presAssocID="{2024CE07-0840-4AFA-A285-8A332F9F0084}" presName="rootText" presStyleLbl="node4" presStyleIdx="4" presStyleCnt="9" custScaleX="81815" custScaleY="15491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78837BE-515B-4E24-ACD3-D8817605E4AB}" type="pres">
      <dgm:prSet presAssocID="{2024CE07-0840-4AFA-A285-8A332F9F0084}" presName="rootConnector" presStyleLbl="node4" presStyleIdx="4" presStyleCnt="9"/>
      <dgm:spPr/>
      <dgm:t>
        <a:bodyPr/>
        <a:lstStyle/>
        <a:p>
          <a:endParaRPr lang="en-US"/>
        </a:p>
      </dgm:t>
    </dgm:pt>
    <dgm:pt modelId="{ABB5CCF0-7395-4275-BC58-78BEDCAA79DD}" type="pres">
      <dgm:prSet presAssocID="{2024CE07-0840-4AFA-A285-8A332F9F0084}" presName="hierChild4" presStyleCnt="0"/>
      <dgm:spPr/>
    </dgm:pt>
    <dgm:pt modelId="{F3540024-B84F-40BC-B39D-B662F19D393D}" type="pres">
      <dgm:prSet presAssocID="{2024CE07-0840-4AFA-A285-8A332F9F0084}" presName="hierChild5" presStyleCnt="0"/>
      <dgm:spPr/>
    </dgm:pt>
    <dgm:pt modelId="{B02AF2FA-B901-4EBD-A0F4-874AF10956EF}" type="pres">
      <dgm:prSet presAssocID="{17043636-82E3-4A58-BD54-255DAE385AA4}" presName="Name37" presStyleLbl="parChTrans1D4" presStyleIdx="5" presStyleCnt="9"/>
      <dgm:spPr/>
      <dgm:t>
        <a:bodyPr/>
        <a:lstStyle/>
        <a:p>
          <a:endParaRPr lang="en-US"/>
        </a:p>
      </dgm:t>
    </dgm:pt>
    <dgm:pt modelId="{72CDDCAC-BB36-4AAE-B3BF-1B846EA96B34}" type="pres">
      <dgm:prSet presAssocID="{7ACFD0D1-A2F7-4D8B-B016-D6307FF6BC97}" presName="hierRoot2" presStyleCnt="0">
        <dgm:presLayoutVars>
          <dgm:hierBranch val="init"/>
        </dgm:presLayoutVars>
      </dgm:prSet>
      <dgm:spPr/>
    </dgm:pt>
    <dgm:pt modelId="{31FBD8F7-91CD-43D0-BAA1-D10C1D1BCFB7}" type="pres">
      <dgm:prSet presAssocID="{7ACFD0D1-A2F7-4D8B-B016-D6307FF6BC97}" presName="rootComposite" presStyleCnt="0"/>
      <dgm:spPr/>
    </dgm:pt>
    <dgm:pt modelId="{619A917E-2FE0-4D54-B500-A6523829D53A}" type="pres">
      <dgm:prSet presAssocID="{7ACFD0D1-A2F7-4D8B-B016-D6307FF6BC97}" presName="rootText" presStyleLbl="node4" presStyleIdx="5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F899FC6-68C7-4D71-8AE0-335BD5724311}" type="pres">
      <dgm:prSet presAssocID="{7ACFD0D1-A2F7-4D8B-B016-D6307FF6BC97}" presName="rootConnector" presStyleLbl="node4" presStyleIdx="5" presStyleCnt="9"/>
      <dgm:spPr/>
      <dgm:t>
        <a:bodyPr/>
        <a:lstStyle/>
        <a:p>
          <a:endParaRPr lang="en-US"/>
        </a:p>
      </dgm:t>
    </dgm:pt>
    <dgm:pt modelId="{FD127D19-4418-4D3A-BC7A-07E55F66BE31}" type="pres">
      <dgm:prSet presAssocID="{7ACFD0D1-A2F7-4D8B-B016-D6307FF6BC97}" presName="hierChild4" presStyleCnt="0"/>
      <dgm:spPr/>
    </dgm:pt>
    <dgm:pt modelId="{D642D2B4-3B37-47B7-9C6D-BEC85B949A6B}" type="pres">
      <dgm:prSet presAssocID="{7ACFD0D1-A2F7-4D8B-B016-D6307FF6BC97}" presName="hierChild5" presStyleCnt="0"/>
      <dgm:spPr/>
    </dgm:pt>
    <dgm:pt modelId="{53FCCA26-0AD4-4E48-8CE6-79774A255829}" type="pres">
      <dgm:prSet presAssocID="{F0813E2C-4806-4C65-8B5D-B3CAA55AB4B6}" presName="hierChild5" presStyleCnt="0"/>
      <dgm:spPr/>
    </dgm:pt>
    <dgm:pt modelId="{5547612A-B87B-4711-B96B-893E928EC160}" type="pres">
      <dgm:prSet presAssocID="{F71B3521-3C56-4052-BCD1-EA1D3EC6C481}" presName="hierChild5" presStyleCnt="0"/>
      <dgm:spPr/>
    </dgm:pt>
    <dgm:pt modelId="{F43736C3-DC97-41E9-A92D-0C87CF3D4CE0}" type="pres">
      <dgm:prSet presAssocID="{BBB07DC0-FEB0-41A7-994C-B6C0577FD4BB}" presName="Name37" presStyleLbl="parChTrans1D2" presStyleIdx="1" presStyleCnt="3"/>
      <dgm:spPr/>
      <dgm:t>
        <a:bodyPr/>
        <a:lstStyle/>
        <a:p>
          <a:endParaRPr lang="en-US"/>
        </a:p>
      </dgm:t>
    </dgm:pt>
    <dgm:pt modelId="{BED3E687-68AB-403D-B426-F32C7E996598}" type="pres">
      <dgm:prSet presAssocID="{94FACFF2-580F-4E03-A72E-6A78D3F61A0D}" presName="hierRoot2" presStyleCnt="0">
        <dgm:presLayoutVars>
          <dgm:hierBranch val="init"/>
        </dgm:presLayoutVars>
      </dgm:prSet>
      <dgm:spPr/>
    </dgm:pt>
    <dgm:pt modelId="{74761613-E4D7-4D7F-B11A-FA9A8563FEDB}" type="pres">
      <dgm:prSet presAssocID="{94FACFF2-580F-4E03-A72E-6A78D3F61A0D}" presName="rootComposite" presStyleCnt="0"/>
      <dgm:spPr/>
    </dgm:pt>
    <dgm:pt modelId="{8C3924C6-95D7-4CDA-A998-F6CD342F1665}" type="pres">
      <dgm:prSet presAssocID="{94FACFF2-580F-4E03-A72E-6A78D3F61A0D}" presName="rootText" presStyleLbl="node2" presStyleIdx="1" presStyleCnt="3" custScaleX="11677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76FD241-CC1D-4310-89BD-442A5810C12B}" type="pres">
      <dgm:prSet presAssocID="{94FACFF2-580F-4E03-A72E-6A78D3F61A0D}" presName="rootConnector" presStyleLbl="node2" presStyleIdx="1" presStyleCnt="3"/>
      <dgm:spPr/>
      <dgm:t>
        <a:bodyPr/>
        <a:lstStyle/>
        <a:p>
          <a:endParaRPr lang="en-US"/>
        </a:p>
      </dgm:t>
    </dgm:pt>
    <dgm:pt modelId="{9D6BDA83-545E-4F18-B532-2B1183EDC461}" type="pres">
      <dgm:prSet presAssocID="{94FACFF2-580F-4E03-A72E-6A78D3F61A0D}" presName="hierChild4" presStyleCnt="0"/>
      <dgm:spPr/>
    </dgm:pt>
    <dgm:pt modelId="{03B7BB75-3081-4A5F-AE84-D0A5017A250E}" type="pres">
      <dgm:prSet presAssocID="{D0A1B840-787D-4ED8-9FA8-82EFBF4A16ED}" presName="Name37" presStyleLbl="parChTrans1D3" presStyleIdx="3" presStyleCnt="8"/>
      <dgm:spPr/>
      <dgm:t>
        <a:bodyPr/>
        <a:lstStyle/>
        <a:p>
          <a:endParaRPr lang="en-US"/>
        </a:p>
      </dgm:t>
    </dgm:pt>
    <dgm:pt modelId="{AAE82C01-9B1E-4BDB-9AA6-F49DF2A6D565}" type="pres">
      <dgm:prSet presAssocID="{930425C0-40A6-483D-B20A-ADF47FECA268}" presName="hierRoot2" presStyleCnt="0">
        <dgm:presLayoutVars>
          <dgm:hierBranch val="init"/>
        </dgm:presLayoutVars>
      </dgm:prSet>
      <dgm:spPr/>
    </dgm:pt>
    <dgm:pt modelId="{789F8C9E-6D9D-4A5F-B33E-CF2CDDC0FE07}" type="pres">
      <dgm:prSet presAssocID="{930425C0-40A6-483D-B20A-ADF47FECA268}" presName="rootComposite" presStyleCnt="0"/>
      <dgm:spPr/>
    </dgm:pt>
    <dgm:pt modelId="{5677D944-029C-484C-80A5-13BC10A104E4}" type="pres">
      <dgm:prSet presAssocID="{930425C0-40A6-483D-B20A-ADF47FECA268}" presName="rootText" presStyleLbl="node3" presStyleIdx="3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ED8561A-5A8E-4CBE-8FC6-607A83CFC3C4}" type="pres">
      <dgm:prSet presAssocID="{930425C0-40A6-483D-B20A-ADF47FECA268}" presName="rootConnector" presStyleLbl="node3" presStyleIdx="3" presStyleCnt="8"/>
      <dgm:spPr/>
      <dgm:t>
        <a:bodyPr/>
        <a:lstStyle/>
        <a:p>
          <a:endParaRPr lang="en-US"/>
        </a:p>
      </dgm:t>
    </dgm:pt>
    <dgm:pt modelId="{3831CA35-AD51-4A69-83E3-FF0577D16A5E}" type="pres">
      <dgm:prSet presAssocID="{930425C0-40A6-483D-B20A-ADF47FECA268}" presName="hierChild4" presStyleCnt="0"/>
      <dgm:spPr/>
    </dgm:pt>
    <dgm:pt modelId="{82A76FF6-95A5-4DEA-B163-853D1B7CC810}" type="pres">
      <dgm:prSet presAssocID="{930425C0-40A6-483D-B20A-ADF47FECA268}" presName="hierChild5" presStyleCnt="0"/>
      <dgm:spPr/>
    </dgm:pt>
    <dgm:pt modelId="{F0E31743-868F-406B-876C-6B11BD573394}" type="pres">
      <dgm:prSet presAssocID="{AC66B097-9A77-4B4E-88EB-CCA6711BE3A9}" presName="Name37" presStyleLbl="parChTrans1D3" presStyleIdx="4" presStyleCnt="8"/>
      <dgm:spPr/>
      <dgm:t>
        <a:bodyPr/>
        <a:lstStyle/>
        <a:p>
          <a:endParaRPr lang="en-US"/>
        </a:p>
      </dgm:t>
    </dgm:pt>
    <dgm:pt modelId="{E6309739-1F4D-4497-827A-E880C3DCA78F}" type="pres">
      <dgm:prSet presAssocID="{1026319C-D65E-47DE-B68C-CB11FC289573}" presName="hierRoot2" presStyleCnt="0">
        <dgm:presLayoutVars>
          <dgm:hierBranch val="init"/>
        </dgm:presLayoutVars>
      </dgm:prSet>
      <dgm:spPr/>
    </dgm:pt>
    <dgm:pt modelId="{66E01AAD-E40B-443E-A412-2B238AC2E416}" type="pres">
      <dgm:prSet presAssocID="{1026319C-D65E-47DE-B68C-CB11FC289573}" presName="rootComposite" presStyleCnt="0"/>
      <dgm:spPr/>
    </dgm:pt>
    <dgm:pt modelId="{B29D70E0-3C5F-46EB-8055-DA38CAFC89E3}" type="pres">
      <dgm:prSet presAssocID="{1026319C-D65E-47DE-B68C-CB11FC289573}" presName="rootText" presStyleLbl="node3" presStyleIdx="4" presStyleCnt="8" custScaleX="113727" custScaleY="24237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816DE47-4E45-46F7-8F85-34A9EBE7EE9B}" type="pres">
      <dgm:prSet presAssocID="{1026319C-D65E-47DE-B68C-CB11FC289573}" presName="rootConnector" presStyleLbl="node3" presStyleIdx="4" presStyleCnt="8"/>
      <dgm:spPr/>
      <dgm:t>
        <a:bodyPr/>
        <a:lstStyle/>
        <a:p>
          <a:endParaRPr lang="en-US"/>
        </a:p>
      </dgm:t>
    </dgm:pt>
    <dgm:pt modelId="{6DF654DC-2FE0-4E06-B768-981E5096B814}" type="pres">
      <dgm:prSet presAssocID="{1026319C-D65E-47DE-B68C-CB11FC289573}" presName="hierChild4" presStyleCnt="0"/>
      <dgm:spPr/>
    </dgm:pt>
    <dgm:pt modelId="{0EDBE25F-D8CF-4E86-A4A2-A241FF863533}" type="pres">
      <dgm:prSet presAssocID="{1026319C-D65E-47DE-B68C-CB11FC289573}" presName="hierChild5" presStyleCnt="0"/>
      <dgm:spPr/>
    </dgm:pt>
    <dgm:pt modelId="{2A7675F5-2BBC-4E57-B900-715F59D6F9D8}" type="pres">
      <dgm:prSet presAssocID="{E66D0E20-5C3D-409D-809A-AF9EF574822C}" presName="Name37" presStyleLbl="parChTrans1D3" presStyleIdx="5" presStyleCnt="8"/>
      <dgm:spPr/>
      <dgm:t>
        <a:bodyPr/>
        <a:lstStyle/>
        <a:p>
          <a:endParaRPr lang="en-US"/>
        </a:p>
      </dgm:t>
    </dgm:pt>
    <dgm:pt modelId="{A634CCD9-7842-43F4-ADA7-3C411BE8E635}" type="pres">
      <dgm:prSet presAssocID="{B814C49C-8DAB-46CD-88C0-98D4B1FCF628}" presName="hierRoot2" presStyleCnt="0">
        <dgm:presLayoutVars>
          <dgm:hierBranch val="init"/>
        </dgm:presLayoutVars>
      </dgm:prSet>
      <dgm:spPr/>
    </dgm:pt>
    <dgm:pt modelId="{A4BA754F-913A-4181-ADB5-181FB8C05FF8}" type="pres">
      <dgm:prSet presAssocID="{B814C49C-8DAB-46CD-88C0-98D4B1FCF628}" presName="rootComposite" presStyleCnt="0"/>
      <dgm:spPr/>
    </dgm:pt>
    <dgm:pt modelId="{313ED6A2-462B-4141-834D-9A74299512E5}" type="pres">
      <dgm:prSet presAssocID="{B814C49C-8DAB-46CD-88C0-98D4B1FCF628}" presName="rootText" presStyleLbl="node3" presStyleIdx="5" presStyleCnt="8" custLinFactNeighborY="3781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3E8E9C7-25A4-4E24-9CA9-CB63D43604DC}" type="pres">
      <dgm:prSet presAssocID="{B814C49C-8DAB-46CD-88C0-98D4B1FCF628}" presName="rootConnector" presStyleLbl="node3" presStyleIdx="5" presStyleCnt="8"/>
      <dgm:spPr/>
      <dgm:t>
        <a:bodyPr/>
        <a:lstStyle/>
        <a:p>
          <a:endParaRPr lang="en-US"/>
        </a:p>
      </dgm:t>
    </dgm:pt>
    <dgm:pt modelId="{78F9D844-8FE7-41F6-8F3A-CF84557DC90F}" type="pres">
      <dgm:prSet presAssocID="{B814C49C-8DAB-46CD-88C0-98D4B1FCF628}" presName="hierChild4" presStyleCnt="0"/>
      <dgm:spPr/>
    </dgm:pt>
    <dgm:pt modelId="{6949C889-9FDE-4745-9E32-1FB0017B7EB5}" type="pres">
      <dgm:prSet presAssocID="{B814C49C-8DAB-46CD-88C0-98D4B1FCF628}" presName="hierChild5" presStyleCnt="0"/>
      <dgm:spPr/>
    </dgm:pt>
    <dgm:pt modelId="{5616E69B-D4D1-4D6E-9D00-2C6F18F25F19}" type="pres">
      <dgm:prSet presAssocID="{94FACFF2-580F-4E03-A72E-6A78D3F61A0D}" presName="hierChild5" presStyleCnt="0"/>
      <dgm:spPr/>
    </dgm:pt>
    <dgm:pt modelId="{5F082D60-CC48-413C-8900-CCAAFA96DCD6}" type="pres">
      <dgm:prSet presAssocID="{5E6F2279-1A64-4664-9BDB-D1E6E052C3CB}" presName="Name37" presStyleLbl="parChTrans1D2" presStyleIdx="2" presStyleCnt="3"/>
      <dgm:spPr/>
      <dgm:t>
        <a:bodyPr/>
        <a:lstStyle/>
        <a:p>
          <a:endParaRPr lang="en-US"/>
        </a:p>
      </dgm:t>
    </dgm:pt>
    <dgm:pt modelId="{04EC3DAB-18E8-4156-B8E4-4C59A7143B86}" type="pres">
      <dgm:prSet presAssocID="{2CDD2A35-444D-4D71-92BA-C8B34D8CA909}" presName="hierRoot2" presStyleCnt="0">
        <dgm:presLayoutVars>
          <dgm:hierBranch val="init"/>
        </dgm:presLayoutVars>
      </dgm:prSet>
      <dgm:spPr/>
    </dgm:pt>
    <dgm:pt modelId="{8E6DCB4B-A124-4449-B56C-9A28D31B941E}" type="pres">
      <dgm:prSet presAssocID="{2CDD2A35-444D-4D71-92BA-C8B34D8CA909}" presName="rootComposite" presStyleCnt="0"/>
      <dgm:spPr/>
    </dgm:pt>
    <dgm:pt modelId="{FB8A078E-B2AD-4CEF-B649-EE1D8B296623}" type="pres">
      <dgm:prSet presAssocID="{2CDD2A35-444D-4D71-92BA-C8B34D8CA909}" presName="rootText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6CDEAD0-CEC9-44F0-B32C-36EE4AF57253}" type="pres">
      <dgm:prSet presAssocID="{2CDD2A35-444D-4D71-92BA-C8B34D8CA909}" presName="rootConnector" presStyleLbl="node2" presStyleIdx="2" presStyleCnt="3"/>
      <dgm:spPr/>
      <dgm:t>
        <a:bodyPr/>
        <a:lstStyle/>
        <a:p>
          <a:endParaRPr lang="en-US"/>
        </a:p>
      </dgm:t>
    </dgm:pt>
    <dgm:pt modelId="{14C75AB6-196D-4B11-ADB5-CBA632972A58}" type="pres">
      <dgm:prSet presAssocID="{2CDD2A35-444D-4D71-92BA-C8B34D8CA909}" presName="hierChild4" presStyleCnt="0"/>
      <dgm:spPr/>
    </dgm:pt>
    <dgm:pt modelId="{374A45A3-F760-4C0A-96C3-EA44E0B95103}" type="pres">
      <dgm:prSet presAssocID="{68FFA976-AE26-4683-8AEF-A4906C549929}" presName="Name37" presStyleLbl="parChTrans1D3" presStyleIdx="6" presStyleCnt="8"/>
      <dgm:spPr/>
      <dgm:t>
        <a:bodyPr/>
        <a:lstStyle/>
        <a:p>
          <a:endParaRPr lang="en-US"/>
        </a:p>
      </dgm:t>
    </dgm:pt>
    <dgm:pt modelId="{B38A7F84-4BFD-4C12-8AD6-B8057318B1AB}" type="pres">
      <dgm:prSet presAssocID="{4BFE5450-8F82-4A26-8FDF-DF7A6C482BF7}" presName="hierRoot2" presStyleCnt="0">
        <dgm:presLayoutVars>
          <dgm:hierBranch val="init"/>
        </dgm:presLayoutVars>
      </dgm:prSet>
      <dgm:spPr/>
    </dgm:pt>
    <dgm:pt modelId="{09539B0C-DD06-4B17-AD06-E1388041201E}" type="pres">
      <dgm:prSet presAssocID="{4BFE5450-8F82-4A26-8FDF-DF7A6C482BF7}" presName="rootComposite" presStyleCnt="0"/>
      <dgm:spPr/>
    </dgm:pt>
    <dgm:pt modelId="{5EF3B480-E935-4555-B3CF-B0EEC2DD1246}" type="pres">
      <dgm:prSet presAssocID="{4BFE5450-8F82-4A26-8FDF-DF7A6C482BF7}" presName="rootText" presStyleLbl="node3" presStyleIdx="6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DDDFF92-DBE7-4D93-B07E-41CBE5E88BAD}" type="pres">
      <dgm:prSet presAssocID="{4BFE5450-8F82-4A26-8FDF-DF7A6C482BF7}" presName="rootConnector" presStyleLbl="node3" presStyleIdx="6" presStyleCnt="8"/>
      <dgm:spPr/>
      <dgm:t>
        <a:bodyPr/>
        <a:lstStyle/>
        <a:p>
          <a:endParaRPr lang="en-US"/>
        </a:p>
      </dgm:t>
    </dgm:pt>
    <dgm:pt modelId="{D4F44F7A-5848-4FC9-842E-D2E4AA036C94}" type="pres">
      <dgm:prSet presAssocID="{4BFE5450-8F82-4A26-8FDF-DF7A6C482BF7}" presName="hierChild4" presStyleCnt="0"/>
      <dgm:spPr/>
    </dgm:pt>
    <dgm:pt modelId="{D7807BFB-2334-4967-A9DF-396281E8F386}" type="pres">
      <dgm:prSet presAssocID="{4BFE5450-8F82-4A26-8FDF-DF7A6C482BF7}" presName="hierChild5" presStyleCnt="0"/>
      <dgm:spPr/>
    </dgm:pt>
    <dgm:pt modelId="{859C8F32-68AE-41D1-8F21-AF2ADD282176}" type="pres">
      <dgm:prSet presAssocID="{37569E72-FE62-463B-985A-434A9B88A922}" presName="Name37" presStyleLbl="parChTrans1D3" presStyleIdx="7" presStyleCnt="8"/>
      <dgm:spPr/>
      <dgm:t>
        <a:bodyPr/>
        <a:lstStyle/>
        <a:p>
          <a:endParaRPr lang="en-US"/>
        </a:p>
      </dgm:t>
    </dgm:pt>
    <dgm:pt modelId="{BFF9784B-3E0A-4CF9-BE9C-FC010035E70C}" type="pres">
      <dgm:prSet presAssocID="{E153FD2F-958B-4501-A714-C375DBAA7B73}" presName="hierRoot2" presStyleCnt="0">
        <dgm:presLayoutVars>
          <dgm:hierBranch val="init"/>
        </dgm:presLayoutVars>
      </dgm:prSet>
      <dgm:spPr/>
    </dgm:pt>
    <dgm:pt modelId="{915A9CAB-388D-4A5A-A5CB-8F9551952D93}" type="pres">
      <dgm:prSet presAssocID="{E153FD2F-958B-4501-A714-C375DBAA7B73}" presName="rootComposite" presStyleCnt="0"/>
      <dgm:spPr/>
    </dgm:pt>
    <dgm:pt modelId="{A58FAC38-F844-4ED7-8E05-301D65C37F2F}" type="pres">
      <dgm:prSet presAssocID="{E153FD2F-958B-4501-A714-C375DBAA7B73}" presName="rootText" presStyleLbl="node3" presStyleIdx="7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A49625A-EA0D-4080-8F6A-1E53C4CB449C}" type="pres">
      <dgm:prSet presAssocID="{E153FD2F-958B-4501-A714-C375DBAA7B73}" presName="rootConnector" presStyleLbl="node3" presStyleIdx="7" presStyleCnt="8"/>
      <dgm:spPr/>
      <dgm:t>
        <a:bodyPr/>
        <a:lstStyle/>
        <a:p>
          <a:endParaRPr lang="en-US"/>
        </a:p>
      </dgm:t>
    </dgm:pt>
    <dgm:pt modelId="{AC26EC8E-592A-478E-A060-5EE3D973AA4C}" type="pres">
      <dgm:prSet presAssocID="{E153FD2F-958B-4501-A714-C375DBAA7B73}" presName="hierChild4" presStyleCnt="0"/>
      <dgm:spPr/>
    </dgm:pt>
    <dgm:pt modelId="{AAF14733-7772-4221-A3F0-B49E68B56A28}" type="pres">
      <dgm:prSet presAssocID="{1B74D045-C566-437F-BAD9-2E5044FD5BC2}" presName="Name37" presStyleLbl="parChTrans1D4" presStyleIdx="6" presStyleCnt="9"/>
      <dgm:spPr/>
      <dgm:t>
        <a:bodyPr/>
        <a:lstStyle/>
        <a:p>
          <a:endParaRPr lang="en-US"/>
        </a:p>
      </dgm:t>
    </dgm:pt>
    <dgm:pt modelId="{FFB51502-1036-4630-8505-3997E874DD93}" type="pres">
      <dgm:prSet presAssocID="{2200EFBE-E51B-40A8-A3E2-1D0324F302C7}" presName="hierRoot2" presStyleCnt="0">
        <dgm:presLayoutVars>
          <dgm:hierBranch val="init"/>
        </dgm:presLayoutVars>
      </dgm:prSet>
      <dgm:spPr/>
    </dgm:pt>
    <dgm:pt modelId="{C43C2852-48E8-4A5E-AD4E-EE7E64E812EB}" type="pres">
      <dgm:prSet presAssocID="{2200EFBE-E51B-40A8-A3E2-1D0324F302C7}" presName="rootComposite" presStyleCnt="0"/>
      <dgm:spPr/>
    </dgm:pt>
    <dgm:pt modelId="{25C1F27A-1E2D-4892-BB4F-57A7E4F11EDF}" type="pres">
      <dgm:prSet presAssocID="{2200EFBE-E51B-40A8-A3E2-1D0324F302C7}" presName="rootText" presStyleLbl="node4" presStyleIdx="6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F1B4D46-6B4C-4E13-87A0-8C66A3638BAA}" type="pres">
      <dgm:prSet presAssocID="{2200EFBE-E51B-40A8-A3E2-1D0324F302C7}" presName="rootConnector" presStyleLbl="node4" presStyleIdx="6" presStyleCnt="9"/>
      <dgm:spPr/>
      <dgm:t>
        <a:bodyPr/>
        <a:lstStyle/>
        <a:p>
          <a:endParaRPr lang="en-US"/>
        </a:p>
      </dgm:t>
    </dgm:pt>
    <dgm:pt modelId="{65966E55-D924-4D7D-A156-54B39C3F9ED4}" type="pres">
      <dgm:prSet presAssocID="{2200EFBE-E51B-40A8-A3E2-1D0324F302C7}" presName="hierChild4" presStyleCnt="0"/>
      <dgm:spPr/>
    </dgm:pt>
    <dgm:pt modelId="{ACDB778C-B25A-4EEF-B245-0515846336BF}" type="pres">
      <dgm:prSet presAssocID="{2200EFBE-E51B-40A8-A3E2-1D0324F302C7}" presName="hierChild5" presStyleCnt="0"/>
      <dgm:spPr/>
    </dgm:pt>
    <dgm:pt modelId="{B6489E13-5EBB-46EA-BAD7-DF8FF1BD9538}" type="pres">
      <dgm:prSet presAssocID="{0F371CAE-D9D2-46D9-8B94-DA36E13C6AD2}" presName="Name37" presStyleLbl="parChTrans1D4" presStyleIdx="7" presStyleCnt="9"/>
      <dgm:spPr/>
      <dgm:t>
        <a:bodyPr/>
        <a:lstStyle/>
        <a:p>
          <a:endParaRPr lang="en-US"/>
        </a:p>
      </dgm:t>
    </dgm:pt>
    <dgm:pt modelId="{A688714A-BC39-42F4-9BFE-238E07F857B5}" type="pres">
      <dgm:prSet presAssocID="{DF1F2610-331D-40FA-BF9D-6EDF9EFE51A9}" presName="hierRoot2" presStyleCnt="0">
        <dgm:presLayoutVars>
          <dgm:hierBranch val="init"/>
        </dgm:presLayoutVars>
      </dgm:prSet>
      <dgm:spPr/>
    </dgm:pt>
    <dgm:pt modelId="{EDDFF759-A286-4F50-AB2C-988002415CB9}" type="pres">
      <dgm:prSet presAssocID="{DF1F2610-331D-40FA-BF9D-6EDF9EFE51A9}" presName="rootComposite" presStyleCnt="0"/>
      <dgm:spPr/>
    </dgm:pt>
    <dgm:pt modelId="{DD7130DD-593A-4323-998D-55A96692D1AD}" type="pres">
      <dgm:prSet presAssocID="{DF1F2610-331D-40FA-BF9D-6EDF9EFE51A9}" presName="rootText" presStyleLbl="node4" presStyleIdx="7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C79A65C-021F-416B-8170-45C80F66D6E8}" type="pres">
      <dgm:prSet presAssocID="{DF1F2610-331D-40FA-BF9D-6EDF9EFE51A9}" presName="rootConnector" presStyleLbl="node4" presStyleIdx="7" presStyleCnt="9"/>
      <dgm:spPr/>
      <dgm:t>
        <a:bodyPr/>
        <a:lstStyle/>
        <a:p>
          <a:endParaRPr lang="en-US"/>
        </a:p>
      </dgm:t>
    </dgm:pt>
    <dgm:pt modelId="{1C655490-F002-4360-9641-2D59473C0E16}" type="pres">
      <dgm:prSet presAssocID="{DF1F2610-331D-40FA-BF9D-6EDF9EFE51A9}" presName="hierChild4" presStyleCnt="0"/>
      <dgm:spPr/>
    </dgm:pt>
    <dgm:pt modelId="{887821ED-2E3D-4444-8567-FECAC8D044DA}" type="pres">
      <dgm:prSet presAssocID="{DF1F2610-331D-40FA-BF9D-6EDF9EFE51A9}" presName="hierChild5" presStyleCnt="0"/>
      <dgm:spPr/>
    </dgm:pt>
    <dgm:pt modelId="{AAB28D6A-8651-4C2D-A93F-547F675057B1}" type="pres">
      <dgm:prSet presAssocID="{38E38FE5-60BB-4700-B80B-60E945994C77}" presName="Name37" presStyleLbl="parChTrans1D4" presStyleIdx="8" presStyleCnt="9"/>
      <dgm:spPr/>
      <dgm:t>
        <a:bodyPr/>
        <a:lstStyle/>
        <a:p>
          <a:endParaRPr lang="en-US"/>
        </a:p>
      </dgm:t>
    </dgm:pt>
    <dgm:pt modelId="{FDD37F11-1C21-4775-BDF3-129BCBC09A3A}" type="pres">
      <dgm:prSet presAssocID="{22411C1A-32C3-429F-B62A-F788CAD2365E}" presName="hierRoot2" presStyleCnt="0">
        <dgm:presLayoutVars>
          <dgm:hierBranch val="init"/>
        </dgm:presLayoutVars>
      </dgm:prSet>
      <dgm:spPr/>
    </dgm:pt>
    <dgm:pt modelId="{FCD25E20-914E-4CE0-902C-00E98C43450B}" type="pres">
      <dgm:prSet presAssocID="{22411C1A-32C3-429F-B62A-F788CAD2365E}" presName="rootComposite" presStyleCnt="0"/>
      <dgm:spPr/>
    </dgm:pt>
    <dgm:pt modelId="{4C681653-6A95-44B8-8E18-604E239A8921}" type="pres">
      <dgm:prSet presAssocID="{22411C1A-32C3-429F-B62A-F788CAD2365E}" presName="rootText" presStyleLbl="node4" presStyleIdx="8" presStyleCnt="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A26C2DD-ECFA-481B-9EC4-D765867E3F5D}" type="pres">
      <dgm:prSet presAssocID="{22411C1A-32C3-429F-B62A-F788CAD2365E}" presName="rootConnector" presStyleLbl="node4" presStyleIdx="8" presStyleCnt="9"/>
      <dgm:spPr/>
      <dgm:t>
        <a:bodyPr/>
        <a:lstStyle/>
        <a:p>
          <a:endParaRPr lang="en-US"/>
        </a:p>
      </dgm:t>
    </dgm:pt>
    <dgm:pt modelId="{5597CB20-0B74-40E6-B3E3-0781339B0A29}" type="pres">
      <dgm:prSet presAssocID="{22411C1A-32C3-429F-B62A-F788CAD2365E}" presName="hierChild4" presStyleCnt="0"/>
      <dgm:spPr/>
    </dgm:pt>
    <dgm:pt modelId="{6B8C6D94-65A1-4C27-AF0E-CB730DBB3943}" type="pres">
      <dgm:prSet presAssocID="{22411C1A-32C3-429F-B62A-F788CAD2365E}" presName="hierChild5" presStyleCnt="0"/>
      <dgm:spPr/>
    </dgm:pt>
    <dgm:pt modelId="{7C1E7FEE-F303-4C06-A5EA-4B89AB6E9F40}" type="pres">
      <dgm:prSet presAssocID="{E153FD2F-958B-4501-A714-C375DBAA7B73}" presName="hierChild5" presStyleCnt="0"/>
      <dgm:spPr/>
    </dgm:pt>
    <dgm:pt modelId="{292B17F6-3B17-409D-BDF6-F3FA5C93D47E}" type="pres">
      <dgm:prSet presAssocID="{2CDD2A35-444D-4D71-92BA-C8B34D8CA909}" presName="hierChild5" presStyleCnt="0"/>
      <dgm:spPr/>
    </dgm:pt>
    <dgm:pt modelId="{09A91909-8447-4F2B-B1BB-18494BA2637D}" type="pres">
      <dgm:prSet presAssocID="{DE83BED6-72D2-40AA-AEC0-E00DB39B7779}" presName="hierChild3" presStyleCnt="0"/>
      <dgm:spPr/>
    </dgm:pt>
  </dgm:ptLst>
  <dgm:cxnLst>
    <dgm:cxn modelId="{B858F696-62C8-4E59-85A5-04E7594E2109}" type="presOf" srcId="{17043636-82E3-4A58-BD54-255DAE385AA4}" destId="{B02AF2FA-B901-4EBD-A0F4-874AF10956EF}" srcOrd="0" destOrd="0" presId="urn:microsoft.com/office/officeart/2005/8/layout/orgChart1"/>
    <dgm:cxn modelId="{03E38D94-2821-4DB3-896E-5817993BCFDD}" type="presOf" srcId="{0F371CAE-D9D2-46D9-8B94-DA36E13C6AD2}" destId="{B6489E13-5EBB-46EA-BAD7-DF8FF1BD9538}" srcOrd="0" destOrd="0" presId="urn:microsoft.com/office/officeart/2005/8/layout/orgChart1"/>
    <dgm:cxn modelId="{21067F37-5C70-43C8-B9FA-046E8A81E312}" srcId="{52326B99-223E-4164-90D7-189BFAB66F0A}" destId="{810B1EE7-ADA7-4515-A7BC-7AA700C89083}" srcOrd="1" destOrd="0" parTransId="{688FDE0E-B158-4D2A-BD17-E32A7E92A590}" sibTransId="{3F338A8F-D527-4D99-9FD4-7663FE18B3FB}"/>
    <dgm:cxn modelId="{2DD46702-5754-4A2C-A41D-D9FED1177D3B}" type="presOf" srcId="{5C8FC595-5907-4E6D-A000-F6203E0A6DB2}" destId="{4C90B3C0-311B-4985-BF2C-4868A2BA2053}" srcOrd="0" destOrd="0" presId="urn:microsoft.com/office/officeart/2005/8/layout/orgChart1"/>
    <dgm:cxn modelId="{C983FA85-4586-4C6B-AE86-0A8051A94C2D}" type="presOf" srcId="{3120464E-6024-475A-B833-ED05EB9364F6}" destId="{1B48FE02-8066-4510-AB7C-F56BD51BDF4B}" srcOrd="0" destOrd="0" presId="urn:microsoft.com/office/officeart/2005/8/layout/orgChart1"/>
    <dgm:cxn modelId="{61911828-BE91-4EAF-92DD-F7666EF322F2}" type="presOf" srcId="{2200EFBE-E51B-40A8-A3E2-1D0324F302C7}" destId="{25C1F27A-1E2D-4892-BB4F-57A7E4F11EDF}" srcOrd="0" destOrd="0" presId="urn:microsoft.com/office/officeart/2005/8/layout/orgChart1"/>
    <dgm:cxn modelId="{917E92BA-064C-4D49-BFDF-9EAC812C3898}" type="presOf" srcId="{DE83BED6-72D2-40AA-AEC0-E00DB39B7779}" destId="{38BA7490-6ACB-4B33-883C-6FA120FC9D65}" srcOrd="0" destOrd="0" presId="urn:microsoft.com/office/officeart/2005/8/layout/orgChart1"/>
    <dgm:cxn modelId="{276CF67A-AC08-4DCF-9928-09EFFB866FD1}" type="presOf" srcId="{E4F26A9D-442B-4CF3-B8A7-61AD103578AA}" destId="{2C7A89E5-BCC5-49F8-9C2E-B40770C21629}" srcOrd="1" destOrd="0" presId="urn:microsoft.com/office/officeart/2005/8/layout/orgChart1"/>
    <dgm:cxn modelId="{B5D0CF37-BECC-4D5E-8ABF-722522BF590F}" type="presOf" srcId="{52326B99-223E-4164-90D7-189BFAB66F0A}" destId="{5A63B776-8325-407C-949F-EF4E998D6E29}" srcOrd="0" destOrd="0" presId="urn:microsoft.com/office/officeart/2005/8/layout/orgChart1"/>
    <dgm:cxn modelId="{DA331BD3-59CA-4973-9BB9-A64C714577F4}" type="presOf" srcId="{688FDE0E-B158-4D2A-BD17-E32A7E92A590}" destId="{DA2BD802-BF83-415A-AED6-A8AEE65C718B}" srcOrd="0" destOrd="0" presId="urn:microsoft.com/office/officeart/2005/8/layout/orgChart1"/>
    <dgm:cxn modelId="{E2DE5B4F-9B04-42F8-AAFB-4CCAEDEC3F39}" type="presOf" srcId="{DF1F2610-331D-40FA-BF9D-6EDF9EFE51A9}" destId="{DD7130DD-593A-4323-998D-55A96692D1AD}" srcOrd="0" destOrd="0" presId="urn:microsoft.com/office/officeart/2005/8/layout/orgChart1"/>
    <dgm:cxn modelId="{3ECA45C1-F055-4110-A1F8-9B2621CA40B2}" type="presOf" srcId="{52326B99-223E-4164-90D7-189BFAB66F0A}" destId="{CA2A6560-D5A2-4CB4-B870-C2758A3902AA}" srcOrd="1" destOrd="0" presId="urn:microsoft.com/office/officeart/2005/8/layout/orgChart1"/>
    <dgm:cxn modelId="{7E5140B2-2E1C-4BC7-9EF2-820E523F2C0A}" type="presOf" srcId="{68FFA976-AE26-4683-8AEF-A4906C549929}" destId="{374A45A3-F760-4C0A-96C3-EA44E0B95103}" srcOrd="0" destOrd="0" presId="urn:microsoft.com/office/officeart/2005/8/layout/orgChart1"/>
    <dgm:cxn modelId="{E1489235-05EE-4B0C-A01A-E2D98AAFAE40}" type="presOf" srcId="{94FACFF2-580F-4E03-A72E-6A78D3F61A0D}" destId="{D76FD241-CC1D-4310-89BD-442A5810C12B}" srcOrd="1" destOrd="0" presId="urn:microsoft.com/office/officeart/2005/8/layout/orgChart1"/>
    <dgm:cxn modelId="{8261E12B-45A4-4AE4-A085-34D551051DF2}" srcId="{2CDD2A35-444D-4D71-92BA-C8B34D8CA909}" destId="{E153FD2F-958B-4501-A714-C375DBAA7B73}" srcOrd="1" destOrd="0" parTransId="{37569E72-FE62-463B-985A-434A9B88A922}" sibTransId="{813871F4-893C-45CA-90CA-14A824331AF1}"/>
    <dgm:cxn modelId="{3C698FB9-5F48-4D32-A5FD-77B4F53FB94E}" type="presOf" srcId="{2CDD2A35-444D-4D71-92BA-C8B34D8CA909}" destId="{FB8A078E-B2AD-4CEF-B649-EE1D8B296623}" srcOrd="0" destOrd="0" presId="urn:microsoft.com/office/officeart/2005/8/layout/orgChart1"/>
    <dgm:cxn modelId="{AD426162-4398-4F8D-8BBB-5AA02FB1AA11}" type="presOf" srcId="{E39CACED-4357-4F54-B362-1BBD963F9528}" destId="{28859B5A-0B83-443C-ADF5-F37810593438}" srcOrd="0" destOrd="0" presId="urn:microsoft.com/office/officeart/2005/8/layout/orgChart1"/>
    <dgm:cxn modelId="{91BC3888-C210-44D4-8F45-F0177B94D3D3}" srcId="{E39CACED-4357-4F54-B362-1BBD963F9528}" destId="{DE83BED6-72D2-40AA-AEC0-E00DB39B7779}" srcOrd="0" destOrd="0" parTransId="{E909CF10-A94C-40D0-809D-A965F0027C14}" sibTransId="{9473080E-8303-4337-BC53-BC75E476AFCF}"/>
    <dgm:cxn modelId="{1513BC5A-20FC-4426-BF3A-029644EA5E4B}" type="presOf" srcId="{930425C0-40A6-483D-B20A-ADF47FECA268}" destId="{DED8561A-5A8E-4CBE-8FC6-607A83CFC3C4}" srcOrd="1" destOrd="0" presId="urn:microsoft.com/office/officeart/2005/8/layout/orgChart1"/>
    <dgm:cxn modelId="{16D0589D-860A-4F46-BA1F-F5A87674EE29}" srcId="{94FACFF2-580F-4E03-A72E-6A78D3F61A0D}" destId="{1026319C-D65E-47DE-B68C-CB11FC289573}" srcOrd="1" destOrd="0" parTransId="{AC66B097-9A77-4B4E-88EB-CCA6711BE3A9}" sibTransId="{4C185AE5-94A0-4DC9-BF18-A322378B65E3}"/>
    <dgm:cxn modelId="{BB9605C3-B4C6-4EC1-9180-5AD928E332EE}" type="presOf" srcId="{930425C0-40A6-483D-B20A-ADF47FECA268}" destId="{5677D944-029C-484C-80A5-13BC10A104E4}" srcOrd="0" destOrd="0" presId="urn:microsoft.com/office/officeart/2005/8/layout/orgChart1"/>
    <dgm:cxn modelId="{CF249C64-E442-408D-916C-84EF50DA0DE7}" type="presOf" srcId="{7ACFD0D1-A2F7-4D8B-B016-D6307FF6BC97}" destId="{619A917E-2FE0-4D54-B500-A6523829D53A}" srcOrd="0" destOrd="0" presId="urn:microsoft.com/office/officeart/2005/8/layout/orgChart1"/>
    <dgm:cxn modelId="{3140B43D-5374-4CD7-A999-A51108D0F52A}" type="presOf" srcId="{810B1EE7-ADA7-4515-A7BC-7AA700C89083}" destId="{4B63BB0F-846E-4658-8317-2D639E924898}" srcOrd="1" destOrd="0" presId="urn:microsoft.com/office/officeart/2005/8/layout/orgChart1"/>
    <dgm:cxn modelId="{ECE6AD1B-E202-4101-8BE3-577AB0E85D45}" srcId="{94FACFF2-580F-4E03-A72E-6A78D3F61A0D}" destId="{B814C49C-8DAB-46CD-88C0-98D4B1FCF628}" srcOrd="2" destOrd="0" parTransId="{E66D0E20-5C3D-409D-809A-AF9EF574822C}" sibTransId="{BAB494CC-CDA7-4E3A-AAC9-7B11016243B3}"/>
    <dgm:cxn modelId="{D7475716-2370-47F6-848C-15C01BBEF1E9}" type="presOf" srcId="{5E6F2279-1A64-4664-9BDB-D1E6E052C3CB}" destId="{5F082D60-CC48-413C-8900-CCAAFA96DCD6}" srcOrd="0" destOrd="0" presId="urn:microsoft.com/office/officeart/2005/8/layout/orgChart1"/>
    <dgm:cxn modelId="{F7794B56-267D-4028-8518-F12D4B521E1B}" type="presOf" srcId="{E153FD2F-958B-4501-A714-C375DBAA7B73}" destId="{A58FAC38-F844-4ED7-8E05-301D65C37F2F}" srcOrd="0" destOrd="0" presId="urn:microsoft.com/office/officeart/2005/8/layout/orgChart1"/>
    <dgm:cxn modelId="{403EDE93-A57A-4F9E-B3EE-F5B39722219E}" srcId="{2CDD2A35-444D-4D71-92BA-C8B34D8CA909}" destId="{4BFE5450-8F82-4A26-8FDF-DF7A6C482BF7}" srcOrd="0" destOrd="0" parTransId="{68FFA976-AE26-4683-8AEF-A4906C549929}" sibTransId="{29569558-4D7A-4E00-A197-0DC2808CADE1}"/>
    <dgm:cxn modelId="{627D6356-807D-4C8D-B05C-37459C390F38}" srcId="{DE83BED6-72D2-40AA-AEC0-E00DB39B7779}" destId="{2CDD2A35-444D-4D71-92BA-C8B34D8CA909}" srcOrd="2" destOrd="0" parTransId="{5E6F2279-1A64-4664-9BDB-D1E6E052C3CB}" sibTransId="{20FFD80E-CD8F-4EB4-9A9C-368F11DA1E34}"/>
    <dgm:cxn modelId="{7F52AB1F-220C-43AA-999B-B5EEA79A17AC}" type="presOf" srcId="{37569E72-FE62-463B-985A-434A9B88A922}" destId="{859C8F32-68AE-41D1-8F21-AF2ADD282176}" srcOrd="0" destOrd="0" presId="urn:microsoft.com/office/officeart/2005/8/layout/orgChart1"/>
    <dgm:cxn modelId="{D7271EE7-D4C7-4B39-AFCF-764AC4E75E88}" type="presOf" srcId="{2024CE07-0840-4AFA-A285-8A332F9F0084}" destId="{878837BE-515B-4E24-ACD3-D8817605E4AB}" srcOrd="1" destOrd="0" presId="urn:microsoft.com/office/officeart/2005/8/layout/orgChart1"/>
    <dgm:cxn modelId="{9AB8E15B-A3D4-4477-BCFE-0431BB8065E3}" type="presOf" srcId="{7671B5D7-6326-4F5B-A653-3CAF4F85C317}" destId="{304D762D-C028-4DB9-B788-4204A181D9A3}" srcOrd="1" destOrd="0" presId="urn:microsoft.com/office/officeart/2005/8/layout/orgChart1"/>
    <dgm:cxn modelId="{8E13874A-667D-49C8-AE83-125151F6BEEC}" srcId="{E153FD2F-958B-4501-A714-C375DBAA7B73}" destId="{22411C1A-32C3-429F-B62A-F788CAD2365E}" srcOrd="2" destOrd="0" parTransId="{38E38FE5-60BB-4700-B80B-60E945994C77}" sibTransId="{54F2324B-9E8E-466F-9361-F9134718D6FF}"/>
    <dgm:cxn modelId="{8BF48CA5-59D8-4C50-8010-B5C09FEEB1A6}" type="presOf" srcId="{38E38FE5-60BB-4700-B80B-60E945994C77}" destId="{AAB28D6A-8651-4C2D-A93F-547F675057B1}" srcOrd="0" destOrd="0" presId="urn:microsoft.com/office/officeart/2005/8/layout/orgChart1"/>
    <dgm:cxn modelId="{953F6457-2A00-49F9-8ACE-51862BFD56BD}" type="presOf" srcId="{94FACFF2-580F-4E03-A72E-6A78D3F61A0D}" destId="{8C3924C6-95D7-4CDA-A998-F6CD342F1665}" srcOrd="0" destOrd="0" presId="urn:microsoft.com/office/officeart/2005/8/layout/orgChart1"/>
    <dgm:cxn modelId="{60DF427E-D09C-4FD6-9EC3-05547150F122}" type="presOf" srcId="{9C6E6B69-2180-480A-A2A4-BBF946CFBF3C}" destId="{610B7A79-132C-4674-BEC6-DB17C8FE71CA}" srcOrd="0" destOrd="0" presId="urn:microsoft.com/office/officeart/2005/8/layout/orgChart1"/>
    <dgm:cxn modelId="{33C039BA-5BB8-4E2F-BBA5-0870A2E4A98E}" type="presOf" srcId="{BBB07DC0-FEB0-41A7-994C-B6C0577FD4BB}" destId="{F43736C3-DC97-41E9-A92D-0C87CF3D4CE0}" srcOrd="0" destOrd="0" presId="urn:microsoft.com/office/officeart/2005/8/layout/orgChart1"/>
    <dgm:cxn modelId="{14497179-BF59-4FA9-94FD-F9DB040A7E7F}" type="presOf" srcId="{E4F26A9D-442B-4CF3-B8A7-61AD103578AA}" destId="{63FC501E-E654-41F7-BA6A-0BF70B2D3C70}" srcOrd="0" destOrd="0" presId="urn:microsoft.com/office/officeart/2005/8/layout/orgChart1"/>
    <dgm:cxn modelId="{2A2A5A2F-862A-43F8-B58B-7CE0956FEF94}" type="presOf" srcId="{B814C49C-8DAB-46CD-88C0-98D4B1FCF628}" destId="{03E8E9C7-25A4-4E24-9CA9-CB63D43604DC}" srcOrd="1" destOrd="0" presId="urn:microsoft.com/office/officeart/2005/8/layout/orgChart1"/>
    <dgm:cxn modelId="{0C466059-CFED-4853-B303-0326F33CAF07}" type="presOf" srcId="{4BFE5450-8F82-4A26-8FDF-DF7A6C482BF7}" destId="{5EF3B480-E935-4555-B3CF-B0EEC2DD1246}" srcOrd="0" destOrd="0" presId="urn:microsoft.com/office/officeart/2005/8/layout/orgChart1"/>
    <dgm:cxn modelId="{AB412D4F-E008-4150-B7A9-C4FA6890AD84}" type="presOf" srcId="{810B1EE7-ADA7-4515-A7BC-7AA700C89083}" destId="{C7CAA8CC-E8AB-4416-AC75-95F821E67A5E}" srcOrd="0" destOrd="0" presId="urn:microsoft.com/office/officeart/2005/8/layout/orgChart1"/>
    <dgm:cxn modelId="{7E85B12E-DBE7-4A5B-85DA-1AF7CC6CD9C4}" type="presOf" srcId="{B814C49C-8DAB-46CD-88C0-98D4B1FCF628}" destId="{313ED6A2-462B-4141-834D-9A74299512E5}" srcOrd="0" destOrd="0" presId="urn:microsoft.com/office/officeart/2005/8/layout/orgChart1"/>
    <dgm:cxn modelId="{8A05E093-27D3-477C-819A-39B6D85E6A56}" type="presOf" srcId="{E451B676-0CAC-406F-89E6-916AC8C8C93A}" destId="{EC11BC86-6BAE-45D5-BE76-F78A05459AB0}" srcOrd="0" destOrd="0" presId="urn:microsoft.com/office/officeart/2005/8/layout/orgChart1"/>
    <dgm:cxn modelId="{0AA8AB8F-B1A6-467D-8B4F-658F173DB580}" type="presOf" srcId="{E66D0E20-5C3D-409D-809A-AF9EF574822C}" destId="{2A7675F5-2BBC-4E57-B900-715F59D6F9D8}" srcOrd="0" destOrd="0" presId="urn:microsoft.com/office/officeart/2005/8/layout/orgChart1"/>
    <dgm:cxn modelId="{1140CBAC-F0FA-4CD7-8963-B74B7A41F929}" type="presOf" srcId="{4ED415F9-59B2-4644-8650-A4A52C08AAF1}" destId="{3BCCE23A-CC94-4B5F-B13D-CB73BFAE0403}" srcOrd="0" destOrd="0" presId="urn:microsoft.com/office/officeart/2005/8/layout/orgChart1"/>
    <dgm:cxn modelId="{F8246400-B385-4C8A-8232-86F6959EE8BF}" type="presOf" srcId="{DE83BED6-72D2-40AA-AEC0-E00DB39B7779}" destId="{680577D9-CE59-4684-96DE-28BAE8831EA2}" srcOrd="1" destOrd="0" presId="urn:microsoft.com/office/officeart/2005/8/layout/orgChart1"/>
    <dgm:cxn modelId="{BFAD9CB4-B266-4ED1-B256-5B115E51A922}" srcId="{F71B3521-3C56-4052-BCD1-EA1D3EC6C481}" destId="{E4F26A9D-442B-4CF3-B8A7-61AD103578AA}" srcOrd="1" destOrd="0" parTransId="{7B7C413D-1FCC-4D9D-9F1C-BACFFAFF07D7}" sibTransId="{A44C9AC1-0FD1-4891-8DAF-618E59E6EBED}"/>
    <dgm:cxn modelId="{AEAF9D67-E660-462E-915D-DBA4FC31214E}" srcId="{94FACFF2-580F-4E03-A72E-6A78D3F61A0D}" destId="{930425C0-40A6-483D-B20A-ADF47FECA268}" srcOrd="0" destOrd="0" parTransId="{D0A1B840-787D-4ED8-9FA8-82EFBF4A16ED}" sibTransId="{6EA20A79-F908-456E-9CB2-9415506673C5}"/>
    <dgm:cxn modelId="{06E9F4C1-A30C-4B30-96B6-459047DF9546}" type="presOf" srcId="{1026319C-D65E-47DE-B68C-CB11FC289573}" destId="{6816DE47-4E45-46F7-8F85-34A9EBE7EE9B}" srcOrd="1" destOrd="0" presId="urn:microsoft.com/office/officeart/2005/8/layout/orgChart1"/>
    <dgm:cxn modelId="{DC364283-F27B-47B7-BAD7-3DAF345D9C50}" type="presOf" srcId="{7E5C29F3-5719-4E17-8CBB-86C58D1C392D}" destId="{7ECEA8CD-85C0-4A0E-A40C-3A0438CC7C86}" srcOrd="0" destOrd="0" presId="urn:microsoft.com/office/officeart/2005/8/layout/orgChart1"/>
    <dgm:cxn modelId="{C8E2D742-4A67-4226-B022-E7E2EB5AD85F}" type="presOf" srcId="{1B74D045-C566-437F-BAD9-2E5044FD5BC2}" destId="{AAF14733-7772-4221-A3F0-B49E68B56A28}" srcOrd="0" destOrd="0" presId="urn:microsoft.com/office/officeart/2005/8/layout/orgChart1"/>
    <dgm:cxn modelId="{5B8E2F7A-6EA4-4E52-AD2A-44653C232B66}" type="presOf" srcId="{F0813E2C-4806-4C65-8B5D-B3CAA55AB4B6}" destId="{BC10B860-36A0-4961-8079-9E6BE51EC74E}" srcOrd="1" destOrd="0" presId="urn:microsoft.com/office/officeart/2005/8/layout/orgChart1"/>
    <dgm:cxn modelId="{223C3792-783D-4965-8CFD-8BFA18063BE5}" srcId="{F0813E2C-4806-4C65-8B5D-B3CAA55AB4B6}" destId="{7ACFD0D1-A2F7-4D8B-B016-D6307FF6BC97}" srcOrd="1" destOrd="0" parTransId="{17043636-82E3-4A58-BD54-255DAE385AA4}" sibTransId="{447DFFCA-08FE-45A8-A203-ECEF4DEF995A}"/>
    <dgm:cxn modelId="{067D21CE-3648-4818-8124-A3E96AEE7E98}" type="presOf" srcId="{22411C1A-32C3-429F-B62A-F788CAD2365E}" destId="{4C681653-6A95-44B8-8E18-604E239A8921}" srcOrd="0" destOrd="0" presId="urn:microsoft.com/office/officeart/2005/8/layout/orgChart1"/>
    <dgm:cxn modelId="{622C97C6-A014-496D-9ABC-01BCAE9C902F}" srcId="{E153FD2F-958B-4501-A714-C375DBAA7B73}" destId="{2200EFBE-E51B-40A8-A3E2-1D0324F302C7}" srcOrd="0" destOrd="0" parTransId="{1B74D045-C566-437F-BAD9-2E5044FD5BC2}" sibTransId="{467E0E56-FE40-425D-B073-0E8D99971773}"/>
    <dgm:cxn modelId="{50A50365-B0A4-4E50-8899-398FB0E1E2F2}" type="presOf" srcId="{1026319C-D65E-47DE-B68C-CB11FC289573}" destId="{B29D70E0-3C5F-46EB-8055-DA38CAFC89E3}" srcOrd="0" destOrd="0" presId="urn:microsoft.com/office/officeart/2005/8/layout/orgChart1"/>
    <dgm:cxn modelId="{24C8D600-983E-4926-96F7-027DB0785633}" type="presOf" srcId="{F0813E2C-4806-4C65-8B5D-B3CAA55AB4B6}" destId="{7E66F63D-8FA6-42BB-A62A-C349B7EA69C6}" srcOrd="0" destOrd="0" presId="urn:microsoft.com/office/officeart/2005/8/layout/orgChart1"/>
    <dgm:cxn modelId="{4E32FD09-72B4-4A0C-859E-E8EC0735A805}" srcId="{E4F26A9D-442B-4CF3-B8A7-61AD103578AA}" destId="{7671B5D7-6326-4F5B-A653-3CAF4F85C317}" srcOrd="0" destOrd="0" parTransId="{7E5C29F3-5719-4E17-8CBB-86C58D1C392D}" sibTransId="{E73BEF5A-7A13-4798-875B-3AF82E129181}"/>
    <dgm:cxn modelId="{1E27E3D6-4258-41F0-A036-70EBDD7987F0}" srcId="{E153FD2F-958B-4501-A714-C375DBAA7B73}" destId="{DF1F2610-331D-40FA-BF9D-6EDF9EFE51A9}" srcOrd="1" destOrd="0" parTransId="{0F371CAE-D9D2-46D9-8B94-DA36E13C6AD2}" sibTransId="{42F110AA-9D8C-489A-8265-CF1111F09DD2}"/>
    <dgm:cxn modelId="{CCFA2389-480A-4228-9630-C4BD317E804C}" type="presOf" srcId="{4BFE5450-8F82-4A26-8FDF-DF7A6C482BF7}" destId="{EDDDFF92-DBE7-4D93-B07E-41CBE5E88BAD}" srcOrd="1" destOrd="0" presId="urn:microsoft.com/office/officeart/2005/8/layout/orgChart1"/>
    <dgm:cxn modelId="{BA53FF5F-979E-45BD-8AFE-0436ABBEBD48}" srcId="{DE83BED6-72D2-40AA-AEC0-E00DB39B7779}" destId="{F71B3521-3C56-4052-BCD1-EA1D3EC6C481}" srcOrd="0" destOrd="0" parTransId="{A60FFF55-2885-42D8-80AE-7C93D2F114D2}" sibTransId="{04C87A95-CE1A-40CE-BD04-BA16A5204ACD}"/>
    <dgm:cxn modelId="{47B2ACAB-05D1-4DAF-8B40-5A7D70A3708E}" srcId="{E4F26A9D-442B-4CF3-B8A7-61AD103578AA}" destId="{3120464E-6024-475A-B833-ED05EB9364F6}" srcOrd="1" destOrd="0" parTransId="{9C6E6B69-2180-480A-A2A4-BBF946CFBF3C}" sibTransId="{76E983C7-6E5F-439F-9C61-D3301964DD49}"/>
    <dgm:cxn modelId="{AA254AB3-A982-43DF-BF08-2B63FC3E8ACF}" srcId="{F71B3521-3C56-4052-BCD1-EA1D3EC6C481}" destId="{F0813E2C-4806-4C65-8B5D-B3CAA55AB4B6}" srcOrd="2" destOrd="0" parTransId="{5C8FC595-5907-4E6D-A000-F6203E0A6DB2}" sibTransId="{3964BBF3-C709-403C-B809-DE00E322985E}"/>
    <dgm:cxn modelId="{0F20D0B3-0A2C-44E1-BB04-2C84CD340D94}" type="presOf" srcId="{A452153C-2C8E-4105-89D1-F2A798AB2705}" destId="{2A285E9D-B462-4456-8ED7-DDC2E8C76837}" srcOrd="0" destOrd="0" presId="urn:microsoft.com/office/officeart/2005/8/layout/orgChart1"/>
    <dgm:cxn modelId="{80AA12F1-72CF-4118-B799-EB126F2E4659}" srcId="{F71B3521-3C56-4052-BCD1-EA1D3EC6C481}" destId="{52326B99-223E-4164-90D7-189BFAB66F0A}" srcOrd="0" destOrd="0" parTransId="{43F9BBB7-7A45-4719-B812-E36462539D72}" sibTransId="{6A06A137-FFCF-4AC8-A6A6-6CC520E649F9}"/>
    <dgm:cxn modelId="{14CBFF18-4839-4F3C-8597-91A329320758}" type="presOf" srcId="{2024CE07-0840-4AFA-A285-8A332F9F0084}" destId="{A45277E3-0420-4505-9B32-E8C33D91C7D0}" srcOrd="0" destOrd="0" presId="urn:microsoft.com/office/officeart/2005/8/layout/orgChart1"/>
    <dgm:cxn modelId="{C1FD2592-F506-4E77-B281-E0A72FB72269}" type="presOf" srcId="{22411C1A-32C3-429F-B62A-F788CAD2365E}" destId="{4A26C2DD-ECFA-481B-9EC4-D765867E3F5D}" srcOrd="1" destOrd="0" presId="urn:microsoft.com/office/officeart/2005/8/layout/orgChart1"/>
    <dgm:cxn modelId="{BD68E6AF-92A4-4A95-9AEB-D570BABA1BA8}" type="presOf" srcId="{F71B3521-3C56-4052-BCD1-EA1D3EC6C481}" destId="{029320F6-83FB-4A89-9054-D9E9E12EE9BC}" srcOrd="0" destOrd="0" presId="urn:microsoft.com/office/officeart/2005/8/layout/orgChart1"/>
    <dgm:cxn modelId="{3FACE675-8548-4882-AFFD-94FF5B22830A}" type="presOf" srcId="{2CDD2A35-444D-4D71-92BA-C8B34D8CA909}" destId="{E6CDEAD0-CEC9-44F0-B32C-36EE4AF57253}" srcOrd="1" destOrd="0" presId="urn:microsoft.com/office/officeart/2005/8/layout/orgChart1"/>
    <dgm:cxn modelId="{D905224C-9F43-4CD3-90EB-0488072EA899}" srcId="{52326B99-223E-4164-90D7-189BFAB66F0A}" destId="{E451B676-0CAC-406F-89E6-916AC8C8C93A}" srcOrd="0" destOrd="0" parTransId="{A452153C-2C8E-4105-89D1-F2A798AB2705}" sibTransId="{CBDF9A26-4D10-4197-9A88-511C33963680}"/>
    <dgm:cxn modelId="{34A46E53-8888-495C-A254-834CFCC847B8}" type="presOf" srcId="{F71B3521-3C56-4052-BCD1-EA1D3EC6C481}" destId="{D091A536-36A1-4130-9339-8B801A1F2803}" srcOrd="1" destOrd="0" presId="urn:microsoft.com/office/officeart/2005/8/layout/orgChart1"/>
    <dgm:cxn modelId="{A681FA1B-F9C8-4F07-B1EA-036101E4B482}" type="presOf" srcId="{43F9BBB7-7A45-4719-B812-E36462539D72}" destId="{AC2F14F4-F80C-499C-898D-658D05F28B49}" srcOrd="0" destOrd="0" presId="urn:microsoft.com/office/officeart/2005/8/layout/orgChart1"/>
    <dgm:cxn modelId="{68AE023E-F2C9-43DB-AF67-5F5A3881FC9A}" srcId="{DE83BED6-72D2-40AA-AEC0-E00DB39B7779}" destId="{94FACFF2-580F-4E03-A72E-6A78D3F61A0D}" srcOrd="1" destOrd="0" parTransId="{BBB07DC0-FEB0-41A7-994C-B6C0577FD4BB}" sibTransId="{885E6A8D-99E2-48EC-9D08-E3ED777D83AC}"/>
    <dgm:cxn modelId="{2948A886-A977-4709-8602-5BBB04C0E4C5}" type="presOf" srcId="{E451B676-0CAC-406F-89E6-916AC8C8C93A}" destId="{31904FC6-72D9-49E0-9284-1C5AB229A040}" srcOrd="1" destOrd="0" presId="urn:microsoft.com/office/officeart/2005/8/layout/orgChart1"/>
    <dgm:cxn modelId="{94573CFD-7584-496F-BB8B-A54BC20D26FA}" type="presOf" srcId="{2200EFBE-E51B-40A8-A3E2-1D0324F302C7}" destId="{DF1B4D46-6B4C-4E13-87A0-8C66A3638BAA}" srcOrd="1" destOrd="0" presId="urn:microsoft.com/office/officeart/2005/8/layout/orgChart1"/>
    <dgm:cxn modelId="{3468F786-42B7-4DEA-AC12-9FD2A46C41B9}" type="presOf" srcId="{A60FFF55-2885-42D8-80AE-7C93D2F114D2}" destId="{FFA55980-77AF-44D0-A3F7-3BC269961AEC}" srcOrd="0" destOrd="0" presId="urn:microsoft.com/office/officeart/2005/8/layout/orgChart1"/>
    <dgm:cxn modelId="{7CCF0881-E864-4C8B-BDB0-844C062BC102}" type="presOf" srcId="{7ACFD0D1-A2F7-4D8B-B016-D6307FF6BC97}" destId="{BF899FC6-68C7-4D71-8AE0-335BD5724311}" srcOrd="1" destOrd="0" presId="urn:microsoft.com/office/officeart/2005/8/layout/orgChart1"/>
    <dgm:cxn modelId="{12553671-B29C-4F0F-AC93-72FB65C6B480}" type="presOf" srcId="{DF1F2610-331D-40FA-BF9D-6EDF9EFE51A9}" destId="{CC79A65C-021F-416B-8170-45C80F66D6E8}" srcOrd="1" destOrd="0" presId="urn:microsoft.com/office/officeart/2005/8/layout/orgChart1"/>
    <dgm:cxn modelId="{287E05F7-89BA-4B54-8AFF-77FBEBA79715}" srcId="{F0813E2C-4806-4C65-8B5D-B3CAA55AB4B6}" destId="{2024CE07-0840-4AFA-A285-8A332F9F0084}" srcOrd="0" destOrd="0" parTransId="{4ED415F9-59B2-4644-8650-A4A52C08AAF1}" sibTransId="{25F22E91-CAE5-4C7C-9F8E-57A952A79A8E}"/>
    <dgm:cxn modelId="{E4F07785-D50F-4BCA-B8DF-AF0BE4FD3A8A}" type="presOf" srcId="{E153FD2F-958B-4501-A714-C375DBAA7B73}" destId="{4A49625A-EA0D-4080-8F6A-1E53C4CB449C}" srcOrd="1" destOrd="0" presId="urn:microsoft.com/office/officeart/2005/8/layout/orgChart1"/>
    <dgm:cxn modelId="{35442232-F126-4D50-9BD1-F2BB0B92FB1C}" type="presOf" srcId="{3120464E-6024-475A-B833-ED05EB9364F6}" destId="{F175C515-C5ED-4B79-BB93-B05E49C0C9B4}" srcOrd="1" destOrd="0" presId="urn:microsoft.com/office/officeart/2005/8/layout/orgChart1"/>
    <dgm:cxn modelId="{5247A514-020A-4D27-8909-0B6BFC7CBFB1}" type="presOf" srcId="{7B7C413D-1FCC-4D9D-9F1C-BACFFAFF07D7}" destId="{DD6034CB-E414-4170-8B00-5686E0E374AF}" srcOrd="0" destOrd="0" presId="urn:microsoft.com/office/officeart/2005/8/layout/orgChart1"/>
    <dgm:cxn modelId="{C52F27B5-BF12-4028-98D8-BEE9761AC06F}" type="presOf" srcId="{AC66B097-9A77-4B4E-88EB-CCA6711BE3A9}" destId="{F0E31743-868F-406B-876C-6B11BD573394}" srcOrd="0" destOrd="0" presId="urn:microsoft.com/office/officeart/2005/8/layout/orgChart1"/>
    <dgm:cxn modelId="{C3B9AC66-79EF-4311-9A22-2A52C58D2B9E}" type="presOf" srcId="{7671B5D7-6326-4F5B-A653-3CAF4F85C317}" destId="{F262B25E-D781-4D44-82CD-CC9D501578F2}" srcOrd="0" destOrd="0" presId="urn:microsoft.com/office/officeart/2005/8/layout/orgChart1"/>
    <dgm:cxn modelId="{8506A8EA-08FA-4136-9442-933E17AB31C0}" type="presOf" srcId="{D0A1B840-787D-4ED8-9FA8-82EFBF4A16ED}" destId="{03B7BB75-3081-4A5F-AE84-D0A5017A250E}" srcOrd="0" destOrd="0" presId="urn:microsoft.com/office/officeart/2005/8/layout/orgChart1"/>
    <dgm:cxn modelId="{C7792097-A151-4BF9-B376-6E537462C7D8}" type="presParOf" srcId="{28859B5A-0B83-443C-ADF5-F37810593438}" destId="{F6F7935D-6530-4593-AE5C-8F4559AFEF00}" srcOrd="0" destOrd="0" presId="urn:microsoft.com/office/officeart/2005/8/layout/orgChart1"/>
    <dgm:cxn modelId="{E160529E-BA60-4166-844A-A4785193E4D8}" type="presParOf" srcId="{F6F7935D-6530-4593-AE5C-8F4559AFEF00}" destId="{83F13196-00FF-420F-91B3-7265F9DA2E35}" srcOrd="0" destOrd="0" presId="urn:microsoft.com/office/officeart/2005/8/layout/orgChart1"/>
    <dgm:cxn modelId="{E05E0DC2-1997-424C-9D25-CCCF5D5AC3F4}" type="presParOf" srcId="{83F13196-00FF-420F-91B3-7265F9DA2E35}" destId="{38BA7490-6ACB-4B33-883C-6FA120FC9D65}" srcOrd="0" destOrd="0" presId="urn:microsoft.com/office/officeart/2005/8/layout/orgChart1"/>
    <dgm:cxn modelId="{F3BDD5EB-BCA8-4560-AC2D-8880B80E2F91}" type="presParOf" srcId="{83F13196-00FF-420F-91B3-7265F9DA2E35}" destId="{680577D9-CE59-4684-96DE-28BAE8831EA2}" srcOrd="1" destOrd="0" presId="urn:microsoft.com/office/officeart/2005/8/layout/orgChart1"/>
    <dgm:cxn modelId="{B8AF6E5B-88E4-4E0A-8A74-369A28933E6F}" type="presParOf" srcId="{F6F7935D-6530-4593-AE5C-8F4559AFEF00}" destId="{7CEDCA83-5FB1-4912-AF43-4BFEBFF2F37F}" srcOrd="1" destOrd="0" presId="urn:microsoft.com/office/officeart/2005/8/layout/orgChart1"/>
    <dgm:cxn modelId="{65B24104-E95A-4033-A4A2-30892042953F}" type="presParOf" srcId="{7CEDCA83-5FB1-4912-AF43-4BFEBFF2F37F}" destId="{FFA55980-77AF-44D0-A3F7-3BC269961AEC}" srcOrd="0" destOrd="0" presId="urn:microsoft.com/office/officeart/2005/8/layout/orgChart1"/>
    <dgm:cxn modelId="{136A2CD5-90AE-4C45-AF21-C7F63D1AE134}" type="presParOf" srcId="{7CEDCA83-5FB1-4912-AF43-4BFEBFF2F37F}" destId="{00081117-45A1-413A-B1E7-872F21D2B3AC}" srcOrd="1" destOrd="0" presId="urn:microsoft.com/office/officeart/2005/8/layout/orgChart1"/>
    <dgm:cxn modelId="{29D86F75-B890-4CFD-BB46-A6705E5699E3}" type="presParOf" srcId="{00081117-45A1-413A-B1E7-872F21D2B3AC}" destId="{04D54B35-6050-4549-B9DB-88983911643A}" srcOrd="0" destOrd="0" presId="urn:microsoft.com/office/officeart/2005/8/layout/orgChart1"/>
    <dgm:cxn modelId="{D6C5D300-D440-49F8-9B92-BAC3B2C57336}" type="presParOf" srcId="{04D54B35-6050-4549-B9DB-88983911643A}" destId="{029320F6-83FB-4A89-9054-D9E9E12EE9BC}" srcOrd="0" destOrd="0" presId="urn:microsoft.com/office/officeart/2005/8/layout/orgChart1"/>
    <dgm:cxn modelId="{DD3D10FD-B976-437A-B138-ADC8DB836E7C}" type="presParOf" srcId="{04D54B35-6050-4549-B9DB-88983911643A}" destId="{D091A536-36A1-4130-9339-8B801A1F2803}" srcOrd="1" destOrd="0" presId="urn:microsoft.com/office/officeart/2005/8/layout/orgChart1"/>
    <dgm:cxn modelId="{92332028-473A-4B51-9BD8-FF8B7A01B2A2}" type="presParOf" srcId="{00081117-45A1-413A-B1E7-872F21D2B3AC}" destId="{FF10DB19-2D38-4AA7-9618-B663B1423350}" srcOrd="1" destOrd="0" presId="urn:microsoft.com/office/officeart/2005/8/layout/orgChart1"/>
    <dgm:cxn modelId="{A623E66E-1FC3-4E5C-B8CF-515CCA2F58DC}" type="presParOf" srcId="{FF10DB19-2D38-4AA7-9618-B663B1423350}" destId="{AC2F14F4-F80C-499C-898D-658D05F28B49}" srcOrd="0" destOrd="0" presId="urn:microsoft.com/office/officeart/2005/8/layout/orgChart1"/>
    <dgm:cxn modelId="{AD399F3D-EBF3-4025-A110-51CAEFE1BF2C}" type="presParOf" srcId="{FF10DB19-2D38-4AA7-9618-B663B1423350}" destId="{4CBFBE2A-E49D-4A7B-ADC8-03FEEFC476A9}" srcOrd="1" destOrd="0" presId="urn:microsoft.com/office/officeart/2005/8/layout/orgChart1"/>
    <dgm:cxn modelId="{10DB38B5-FC7B-4F78-BA27-F9AC73F0C0EA}" type="presParOf" srcId="{4CBFBE2A-E49D-4A7B-ADC8-03FEEFC476A9}" destId="{611245A0-6B2F-4851-A3A4-48E2F2F08A53}" srcOrd="0" destOrd="0" presId="urn:microsoft.com/office/officeart/2005/8/layout/orgChart1"/>
    <dgm:cxn modelId="{EE899222-C567-4FBC-9705-E774FE5D9FFB}" type="presParOf" srcId="{611245A0-6B2F-4851-A3A4-48E2F2F08A53}" destId="{5A63B776-8325-407C-949F-EF4E998D6E29}" srcOrd="0" destOrd="0" presId="urn:microsoft.com/office/officeart/2005/8/layout/orgChart1"/>
    <dgm:cxn modelId="{87AABA0F-295C-4A6C-B766-35386E8D6BE7}" type="presParOf" srcId="{611245A0-6B2F-4851-A3A4-48E2F2F08A53}" destId="{CA2A6560-D5A2-4CB4-B870-C2758A3902AA}" srcOrd="1" destOrd="0" presId="urn:microsoft.com/office/officeart/2005/8/layout/orgChart1"/>
    <dgm:cxn modelId="{AA5A3C47-3CEE-46C2-8B91-A9F6BBB46743}" type="presParOf" srcId="{4CBFBE2A-E49D-4A7B-ADC8-03FEEFC476A9}" destId="{5652B142-197D-4B9C-A5CA-3F981E5F4F94}" srcOrd="1" destOrd="0" presId="urn:microsoft.com/office/officeart/2005/8/layout/orgChart1"/>
    <dgm:cxn modelId="{E5733465-51FA-42A8-8956-59A109F16843}" type="presParOf" srcId="{5652B142-197D-4B9C-A5CA-3F981E5F4F94}" destId="{2A285E9D-B462-4456-8ED7-DDC2E8C76837}" srcOrd="0" destOrd="0" presId="urn:microsoft.com/office/officeart/2005/8/layout/orgChart1"/>
    <dgm:cxn modelId="{EC64E9F3-7592-4FB3-AD2E-FBEB9D302118}" type="presParOf" srcId="{5652B142-197D-4B9C-A5CA-3F981E5F4F94}" destId="{A0E18524-3B09-4688-9F9F-87AB30720A98}" srcOrd="1" destOrd="0" presId="urn:microsoft.com/office/officeart/2005/8/layout/orgChart1"/>
    <dgm:cxn modelId="{7C8EAC7D-2CB3-45C3-93BA-63E5EFC1D0C1}" type="presParOf" srcId="{A0E18524-3B09-4688-9F9F-87AB30720A98}" destId="{C01B0461-EEC3-4E13-A59D-BE7F52E75A87}" srcOrd="0" destOrd="0" presId="urn:microsoft.com/office/officeart/2005/8/layout/orgChart1"/>
    <dgm:cxn modelId="{BF064160-F4A9-4D2B-A4EC-ADF6FC6E9DF0}" type="presParOf" srcId="{C01B0461-EEC3-4E13-A59D-BE7F52E75A87}" destId="{EC11BC86-6BAE-45D5-BE76-F78A05459AB0}" srcOrd="0" destOrd="0" presId="urn:microsoft.com/office/officeart/2005/8/layout/orgChart1"/>
    <dgm:cxn modelId="{C6172117-D03E-48C4-B13F-1880EADE4F48}" type="presParOf" srcId="{C01B0461-EEC3-4E13-A59D-BE7F52E75A87}" destId="{31904FC6-72D9-49E0-9284-1C5AB229A040}" srcOrd="1" destOrd="0" presId="urn:microsoft.com/office/officeart/2005/8/layout/orgChart1"/>
    <dgm:cxn modelId="{BC326190-0871-4E9F-93D8-054A2F6AAE1A}" type="presParOf" srcId="{A0E18524-3B09-4688-9F9F-87AB30720A98}" destId="{B1958780-B180-4D09-813D-3FFCFB6D6A41}" srcOrd="1" destOrd="0" presId="urn:microsoft.com/office/officeart/2005/8/layout/orgChart1"/>
    <dgm:cxn modelId="{4C5AFA3F-FEA1-4738-9681-484B2E1B3460}" type="presParOf" srcId="{A0E18524-3B09-4688-9F9F-87AB30720A98}" destId="{A514FABF-9D63-4365-8AA0-DAE0293AA92A}" srcOrd="2" destOrd="0" presId="urn:microsoft.com/office/officeart/2005/8/layout/orgChart1"/>
    <dgm:cxn modelId="{35A1778C-05D6-4A91-8E09-0A0C78F55345}" type="presParOf" srcId="{5652B142-197D-4B9C-A5CA-3F981E5F4F94}" destId="{DA2BD802-BF83-415A-AED6-A8AEE65C718B}" srcOrd="2" destOrd="0" presId="urn:microsoft.com/office/officeart/2005/8/layout/orgChart1"/>
    <dgm:cxn modelId="{AD082E3F-2E29-4170-A7E9-3DE48EEE3AFD}" type="presParOf" srcId="{5652B142-197D-4B9C-A5CA-3F981E5F4F94}" destId="{87CE19AB-47C5-400D-8A20-2D627BDEC313}" srcOrd="3" destOrd="0" presId="urn:microsoft.com/office/officeart/2005/8/layout/orgChart1"/>
    <dgm:cxn modelId="{B7206DBD-5A09-41FC-B2C3-0D7E2436C3F2}" type="presParOf" srcId="{87CE19AB-47C5-400D-8A20-2D627BDEC313}" destId="{C7CB3C31-96F3-45F2-9490-029EC35187A7}" srcOrd="0" destOrd="0" presId="urn:microsoft.com/office/officeart/2005/8/layout/orgChart1"/>
    <dgm:cxn modelId="{334207D0-915E-4A08-9DEA-ECAFEC5DD85D}" type="presParOf" srcId="{C7CB3C31-96F3-45F2-9490-029EC35187A7}" destId="{C7CAA8CC-E8AB-4416-AC75-95F821E67A5E}" srcOrd="0" destOrd="0" presId="urn:microsoft.com/office/officeart/2005/8/layout/orgChart1"/>
    <dgm:cxn modelId="{0714C543-7EF4-4B9E-8014-FCE1FC38A171}" type="presParOf" srcId="{C7CB3C31-96F3-45F2-9490-029EC35187A7}" destId="{4B63BB0F-846E-4658-8317-2D639E924898}" srcOrd="1" destOrd="0" presId="urn:microsoft.com/office/officeart/2005/8/layout/orgChart1"/>
    <dgm:cxn modelId="{0FA024AC-FB9D-4E0A-BD55-45C3402F8E43}" type="presParOf" srcId="{87CE19AB-47C5-400D-8A20-2D627BDEC313}" destId="{5DF7D52E-E6F0-4B9B-B745-37DDD18BC703}" srcOrd="1" destOrd="0" presId="urn:microsoft.com/office/officeart/2005/8/layout/orgChart1"/>
    <dgm:cxn modelId="{8B7C3404-832B-4DD6-97C2-2A3EA438EF6C}" type="presParOf" srcId="{87CE19AB-47C5-400D-8A20-2D627BDEC313}" destId="{1D73D43A-92BE-4D5C-9170-CC170013A0BE}" srcOrd="2" destOrd="0" presId="urn:microsoft.com/office/officeart/2005/8/layout/orgChart1"/>
    <dgm:cxn modelId="{111D6D50-A62E-4CD3-8B63-6B5943467138}" type="presParOf" srcId="{4CBFBE2A-E49D-4A7B-ADC8-03FEEFC476A9}" destId="{478812A8-6644-4BDA-9BD5-4197CB329005}" srcOrd="2" destOrd="0" presId="urn:microsoft.com/office/officeart/2005/8/layout/orgChart1"/>
    <dgm:cxn modelId="{46FC10DF-BD70-47B8-89C8-7DC79B3F02C8}" type="presParOf" srcId="{FF10DB19-2D38-4AA7-9618-B663B1423350}" destId="{DD6034CB-E414-4170-8B00-5686E0E374AF}" srcOrd="2" destOrd="0" presId="urn:microsoft.com/office/officeart/2005/8/layout/orgChart1"/>
    <dgm:cxn modelId="{0ED6A358-9553-416E-AB5F-1C23395FE507}" type="presParOf" srcId="{FF10DB19-2D38-4AA7-9618-B663B1423350}" destId="{9D8527AD-E679-4383-8B4C-CC91C60E6EE1}" srcOrd="3" destOrd="0" presId="urn:microsoft.com/office/officeart/2005/8/layout/orgChart1"/>
    <dgm:cxn modelId="{DECB0AA3-3F89-4189-B48A-6E1A61419DF5}" type="presParOf" srcId="{9D8527AD-E679-4383-8B4C-CC91C60E6EE1}" destId="{1190FBA8-42EB-46E4-8E8B-EB5519E379A6}" srcOrd="0" destOrd="0" presId="urn:microsoft.com/office/officeart/2005/8/layout/orgChart1"/>
    <dgm:cxn modelId="{18F68B00-1C73-441E-A56D-84BC13F6A104}" type="presParOf" srcId="{1190FBA8-42EB-46E4-8E8B-EB5519E379A6}" destId="{63FC501E-E654-41F7-BA6A-0BF70B2D3C70}" srcOrd="0" destOrd="0" presId="urn:microsoft.com/office/officeart/2005/8/layout/orgChart1"/>
    <dgm:cxn modelId="{E683FA4B-36A0-4C1B-9891-BCCBBEA78ADA}" type="presParOf" srcId="{1190FBA8-42EB-46E4-8E8B-EB5519E379A6}" destId="{2C7A89E5-BCC5-49F8-9C2E-B40770C21629}" srcOrd="1" destOrd="0" presId="urn:microsoft.com/office/officeart/2005/8/layout/orgChart1"/>
    <dgm:cxn modelId="{63EEC724-F652-4584-AB5E-80148502BB06}" type="presParOf" srcId="{9D8527AD-E679-4383-8B4C-CC91C60E6EE1}" destId="{D826AFC1-BBC9-410E-B541-8B98E3D3FD15}" srcOrd="1" destOrd="0" presId="urn:microsoft.com/office/officeart/2005/8/layout/orgChart1"/>
    <dgm:cxn modelId="{D3A9706C-A90D-4C22-AB3C-9615619DC906}" type="presParOf" srcId="{D826AFC1-BBC9-410E-B541-8B98E3D3FD15}" destId="{7ECEA8CD-85C0-4A0E-A40C-3A0438CC7C86}" srcOrd="0" destOrd="0" presId="urn:microsoft.com/office/officeart/2005/8/layout/orgChart1"/>
    <dgm:cxn modelId="{91455FBD-C4B2-4BF7-B1A7-6AFDBDE3C316}" type="presParOf" srcId="{D826AFC1-BBC9-410E-B541-8B98E3D3FD15}" destId="{87812549-AABF-4D73-9A8B-37EBF8EF116C}" srcOrd="1" destOrd="0" presId="urn:microsoft.com/office/officeart/2005/8/layout/orgChart1"/>
    <dgm:cxn modelId="{7D45264A-0FB3-4DCA-881E-E5031A691900}" type="presParOf" srcId="{87812549-AABF-4D73-9A8B-37EBF8EF116C}" destId="{3415D6A5-33D8-42A5-AD9D-A1E1F4776985}" srcOrd="0" destOrd="0" presId="urn:microsoft.com/office/officeart/2005/8/layout/orgChart1"/>
    <dgm:cxn modelId="{F9F194ED-ECFA-4A6B-A3E6-1C1F5E694523}" type="presParOf" srcId="{3415D6A5-33D8-42A5-AD9D-A1E1F4776985}" destId="{F262B25E-D781-4D44-82CD-CC9D501578F2}" srcOrd="0" destOrd="0" presId="urn:microsoft.com/office/officeart/2005/8/layout/orgChart1"/>
    <dgm:cxn modelId="{15E4EC82-F0F5-42FC-9FEF-83F98C3CC8C6}" type="presParOf" srcId="{3415D6A5-33D8-42A5-AD9D-A1E1F4776985}" destId="{304D762D-C028-4DB9-B788-4204A181D9A3}" srcOrd="1" destOrd="0" presId="urn:microsoft.com/office/officeart/2005/8/layout/orgChart1"/>
    <dgm:cxn modelId="{CC6FFE78-958D-49B1-94E7-B86DE3CF4181}" type="presParOf" srcId="{87812549-AABF-4D73-9A8B-37EBF8EF116C}" destId="{2FEEEB36-A297-473C-B198-562323531387}" srcOrd="1" destOrd="0" presId="urn:microsoft.com/office/officeart/2005/8/layout/orgChart1"/>
    <dgm:cxn modelId="{C4A800F7-FE8D-4205-80BC-FBF37AD59EB3}" type="presParOf" srcId="{87812549-AABF-4D73-9A8B-37EBF8EF116C}" destId="{A33A5E1E-951D-4041-9E5F-120E0E95505E}" srcOrd="2" destOrd="0" presId="urn:microsoft.com/office/officeart/2005/8/layout/orgChart1"/>
    <dgm:cxn modelId="{83E9DF92-467E-461C-94C5-807D56C86776}" type="presParOf" srcId="{D826AFC1-BBC9-410E-B541-8B98E3D3FD15}" destId="{610B7A79-132C-4674-BEC6-DB17C8FE71CA}" srcOrd="2" destOrd="0" presId="urn:microsoft.com/office/officeart/2005/8/layout/orgChart1"/>
    <dgm:cxn modelId="{3AAB0917-9616-4AE7-ADE4-90690323CE8F}" type="presParOf" srcId="{D826AFC1-BBC9-410E-B541-8B98E3D3FD15}" destId="{EFF9300A-F41C-447E-9B35-8848F9226025}" srcOrd="3" destOrd="0" presId="urn:microsoft.com/office/officeart/2005/8/layout/orgChart1"/>
    <dgm:cxn modelId="{A7333083-41A9-4534-A0DC-A2FE1A2D28F3}" type="presParOf" srcId="{EFF9300A-F41C-447E-9B35-8848F9226025}" destId="{586FCB4C-1C23-4C55-A4FC-2B9CB27DA8D2}" srcOrd="0" destOrd="0" presId="urn:microsoft.com/office/officeart/2005/8/layout/orgChart1"/>
    <dgm:cxn modelId="{A50C4BC2-7928-44B1-A027-D8A10068F52C}" type="presParOf" srcId="{586FCB4C-1C23-4C55-A4FC-2B9CB27DA8D2}" destId="{1B48FE02-8066-4510-AB7C-F56BD51BDF4B}" srcOrd="0" destOrd="0" presId="urn:microsoft.com/office/officeart/2005/8/layout/orgChart1"/>
    <dgm:cxn modelId="{3AD1A46D-7518-4A7F-A080-2BC55124EB9B}" type="presParOf" srcId="{586FCB4C-1C23-4C55-A4FC-2B9CB27DA8D2}" destId="{F175C515-C5ED-4B79-BB93-B05E49C0C9B4}" srcOrd="1" destOrd="0" presId="urn:microsoft.com/office/officeart/2005/8/layout/orgChart1"/>
    <dgm:cxn modelId="{BBFDDCA1-4D76-4468-8829-3DB5F525945F}" type="presParOf" srcId="{EFF9300A-F41C-447E-9B35-8848F9226025}" destId="{79FB3EC3-D2A3-4A0E-86AC-9457964357E2}" srcOrd="1" destOrd="0" presId="urn:microsoft.com/office/officeart/2005/8/layout/orgChart1"/>
    <dgm:cxn modelId="{B6DD6D81-DD13-474C-A372-F54EF8E624CC}" type="presParOf" srcId="{EFF9300A-F41C-447E-9B35-8848F9226025}" destId="{7A17123B-F7FA-4082-897A-3A81A00B25F8}" srcOrd="2" destOrd="0" presId="urn:microsoft.com/office/officeart/2005/8/layout/orgChart1"/>
    <dgm:cxn modelId="{736708D5-4EAD-4F33-885B-969771238FEE}" type="presParOf" srcId="{9D8527AD-E679-4383-8B4C-CC91C60E6EE1}" destId="{7A919AB5-DA74-427B-B2CE-A7E19C5F2F89}" srcOrd="2" destOrd="0" presId="urn:microsoft.com/office/officeart/2005/8/layout/orgChart1"/>
    <dgm:cxn modelId="{69498C26-9FD3-4ECF-A976-D2945DC65F27}" type="presParOf" srcId="{FF10DB19-2D38-4AA7-9618-B663B1423350}" destId="{4C90B3C0-311B-4985-BF2C-4868A2BA2053}" srcOrd="4" destOrd="0" presId="urn:microsoft.com/office/officeart/2005/8/layout/orgChart1"/>
    <dgm:cxn modelId="{A1626623-8246-4914-B232-ED4E9B8E6057}" type="presParOf" srcId="{FF10DB19-2D38-4AA7-9618-B663B1423350}" destId="{25704ECB-93D8-4AAC-B943-6E7B88880350}" srcOrd="5" destOrd="0" presId="urn:microsoft.com/office/officeart/2005/8/layout/orgChart1"/>
    <dgm:cxn modelId="{702B367C-7D9D-472A-9904-9DD7A5D68DFA}" type="presParOf" srcId="{25704ECB-93D8-4AAC-B943-6E7B88880350}" destId="{1F5B4E8F-4078-402B-8BF9-03AF95F29C06}" srcOrd="0" destOrd="0" presId="urn:microsoft.com/office/officeart/2005/8/layout/orgChart1"/>
    <dgm:cxn modelId="{3B9A1C65-219C-40BA-B9E1-ECEAF2E6F0E7}" type="presParOf" srcId="{1F5B4E8F-4078-402B-8BF9-03AF95F29C06}" destId="{7E66F63D-8FA6-42BB-A62A-C349B7EA69C6}" srcOrd="0" destOrd="0" presId="urn:microsoft.com/office/officeart/2005/8/layout/orgChart1"/>
    <dgm:cxn modelId="{AD000E98-ECE9-40D3-B399-0B44FDC390DF}" type="presParOf" srcId="{1F5B4E8F-4078-402B-8BF9-03AF95F29C06}" destId="{BC10B860-36A0-4961-8079-9E6BE51EC74E}" srcOrd="1" destOrd="0" presId="urn:microsoft.com/office/officeart/2005/8/layout/orgChart1"/>
    <dgm:cxn modelId="{947EE87D-5E8E-4ABD-8B2D-84F4FA9B3452}" type="presParOf" srcId="{25704ECB-93D8-4AAC-B943-6E7B88880350}" destId="{A346BA09-C0FB-44FE-94ED-E84F1458A182}" srcOrd="1" destOrd="0" presId="urn:microsoft.com/office/officeart/2005/8/layout/orgChart1"/>
    <dgm:cxn modelId="{7A23E566-16AF-4B63-8B61-45A3B4C95309}" type="presParOf" srcId="{A346BA09-C0FB-44FE-94ED-E84F1458A182}" destId="{3BCCE23A-CC94-4B5F-B13D-CB73BFAE0403}" srcOrd="0" destOrd="0" presId="urn:microsoft.com/office/officeart/2005/8/layout/orgChart1"/>
    <dgm:cxn modelId="{4007EA4B-0C4E-471E-84DA-F58705034560}" type="presParOf" srcId="{A346BA09-C0FB-44FE-94ED-E84F1458A182}" destId="{DD13E5E2-1B9C-48EC-990C-B31E25E119BE}" srcOrd="1" destOrd="0" presId="urn:microsoft.com/office/officeart/2005/8/layout/orgChart1"/>
    <dgm:cxn modelId="{5F26B4D5-101E-4C4C-BEC8-3AF37ADD8BAB}" type="presParOf" srcId="{DD13E5E2-1B9C-48EC-990C-B31E25E119BE}" destId="{93488B8D-5BB0-4299-8DA0-2B61FC1C7E27}" srcOrd="0" destOrd="0" presId="urn:microsoft.com/office/officeart/2005/8/layout/orgChart1"/>
    <dgm:cxn modelId="{EA61D3FA-F183-4695-BB54-07A7C4DEF5B3}" type="presParOf" srcId="{93488B8D-5BB0-4299-8DA0-2B61FC1C7E27}" destId="{A45277E3-0420-4505-9B32-E8C33D91C7D0}" srcOrd="0" destOrd="0" presId="urn:microsoft.com/office/officeart/2005/8/layout/orgChart1"/>
    <dgm:cxn modelId="{5C86CE3C-0F95-4298-9A0B-3129395890AE}" type="presParOf" srcId="{93488B8D-5BB0-4299-8DA0-2B61FC1C7E27}" destId="{878837BE-515B-4E24-ACD3-D8817605E4AB}" srcOrd="1" destOrd="0" presId="urn:microsoft.com/office/officeart/2005/8/layout/orgChart1"/>
    <dgm:cxn modelId="{38F414DF-7A41-4205-84C4-012B6BD87AB2}" type="presParOf" srcId="{DD13E5E2-1B9C-48EC-990C-B31E25E119BE}" destId="{ABB5CCF0-7395-4275-BC58-78BEDCAA79DD}" srcOrd="1" destOrd="0" presId="urn:microsoft.com/office/officeart/2005/8/layout/orgChart1"/>
    <dgm:cxn modelId="{9AF280D1-46E4-4F0E-B613-2C8D7C13867E}" type="presParOf" srcId="{DD13E5E2-1B9C-48EC-990C-B31E25E119BE}" destId="{F3540024-B84F-40BC-B39D-B662F19D393D}" srcOrd="2" destOrd="0" presId="urn:microsoft.com/office/officeart/2005/8/layout/orgChart1"/>
    <dgm:cxn modelId="{20DBE1D8-E38B-4C71-828B-10C5E7DF3FDE}" type="presParOf" srcId="{A346BA09-C0FB-44FE-94ED-E84F1458A182}" destId="{B02AF2FA-B901-4EBD-A0F4-874AF10956EF}" srcOrd="2" destOrd="0" presId="urn:microsoft.com/office/officeart/2005/8/layout/orgChart1"/>
    <dgm:cxn modelId="{429BCDA2-A036-444C-9F5A-19509647CEC9}" type="presParOf" srcId="{A346BA09-C0FB-44FE-94ED-E84F1458A182}" destId="{72CDDCAC-BB36-4AAE-B3BF-1B846EA96B34}" srcOrd="3" destOrd="0" presId="urn:microsoft.com/office/officeart/2005/8/layout/orgChart1"/>
    <dgm:cxn modelId="{8E6B5D17-B178-43E2-9102-25ED161A0744}" type="presParOf" srcId="{72CDDCAC-BB36-4AAE-B3BF-1B846EA96B34}" destId="{31FBD8F7-91CD-43D0-BAA1-D10C1D1BCFB7}" srcOrd="0" destOrd="0" presId="urn:microsoft.com/office/officeart/2005/8/layout/orgChart1"/>
    <dgm:cxn modelId="{ABD950A1-E360-4642-B02D-017E25606023}" type="presParOf" srcId="{31FBD8F7-91CD-43D0-BAA1-D10C1D1BCFB7}" destId="{619A917E-2FE0-4D54-B500-A6523829D53A}" srcOrd="0" destOrd="0" presId="urn:microsoft.com/office/officeart/2005/8/layout/orgChart1"/>
    <dgm:cxn modelId="{7CB71F02-9197-4758-9712-178BA67CA6D5}" type="presParOf" srcId="{31FBD8F7-91CD-43D0-BAA1-D10C1D1BCFB7}" destId="{BF899FC6-68C7-4D71-8AE0-335BD5724311}" srcOrd="1" destOrd="0" presId="urn:microsoft.com/office/officeart/2005/8/layout/orgChart1"/>
    <dgm:cxn modelId="{FAA7BBA1-8D5A-4F9D-85C9-DAB57308D2E6}" type="presParOf" srcId="{72CDDCAC-BB36-4AAE-B3BF-1B846EA96B34}" destId="{FD127D19-4418-4D3A-BC7A-07E55F66BE31}" srcOrd="1" destOrd="0" presId="urn:microsoft.com/office/officeart/2005/8/layout/orgChart1"/>
    <dgm:cxn modelId="{51EC0C3E-D02B-4DEB-AD0B-F0BBB8732843}" type="presParOf" srcId="{72CDDCAC-BB36-4AAE-B3BF-1B846EA96B34}" destId="{D642D2B4-3B37-47B7-9C6D-BEC85B949A6B}" srcOrd="2" destOrd="0" presId="urn:microsoft.com/office/officeart/2005/8/layout/orgChart1"/>
    <dgm:cxn modelId="{49D6F91A-40D8-47F5-80DC-B12EE648E0CD}" type="presParOf" srcId="{25704ECB-93D8-4AAC-B943-6E7B88880350}" destId="{53FCCA26-0AD4-4E48-8CE6-79774A255829}" srcOrd="2" destOrd="0" presId="urn:microsoft.com/office/officeart/2005/8/layout/orgChart1"/>
    <dgm:cxn modelId="{1330780E-87E5-4B62-B0BC-E4ABCC440F52}" type="presParOf" srcId="{00081117-45A1-413A-B1E7-872F21D2B3AC}" destId="{5547612A-B87B-4711-B96B-893E928EC160}" srcOrd="2" destOrd="0" presId="urn:microsoft.com/office/officeart/2005/8/layout/orgChart1"/>
    <dgm:cxn modelId="{E2208B24-3893-45C7-96BF-3BD7C30DD27E}" type="presParOf" srcId="{7CEDCA83-5FB1-4912-AF43-4BFEBFF2F37F}" destId="{F43736C3-DC97-41E9-A92D-0C87CF3D4CE0}" srcOrd="2" destOrd="0" presId="urn:microsoft.com/office/officeart/2005/8/layout/orgChart1"/>
    <dgm:cxn modelId="{728B5B42-DFDB-462D-86E5-F356C595B587}" type="presParOf" srcId="{7CEDCA83-5FB1-4912-AF43-4BFEBFF2F37F}" destId="{BED3E687-68AB-403D-B426-F32C7E996598}" srcOrd="3" destOrd="0" presId="urn:microsoft.com/office/officeart/2005/8/layout/orgChart1"/>
    <dgm:cxn modelId="{47A7D16F-1142-46DA-A4D4-B0478E5F7C4C}" type="presParOf" srcId="{BED3E687-68AB-403D-B426-F32C7E996598}" destId="{74761613-E4D7-4D7F-B11A-FA9A8563FEDB}" srcOrd="0" destOrd="0" presId="urn:microsoft.com/office/officeart/2005/8/layout/orgChart1"/>
    <dgm:cxn modelId="{E2BD6522-96E3-4084-83E0-85224ACD3292}" type="presParOf" srcId="{74761613-E4D7-4D7F-B11A-FA9A8563FEDB}" destId="{8C3924C6-95D7-4CDA-A998-F6CD342F1665}" srcOrd="0" destOrd="0" presId="urn:microsoft.com/office/officeart/2005/8/layout/orgChart1"/>
    <dgm:cxn modelId="{2E6DFD49-BF01-473B-9822-EC843F7BFF5F}" type="presParOf" srcId="{74761613-E4D7-4D7F-B11A-FA9A8563FEDB}" destId="{D76FD241-CC1D-4310-89BD-442A5810C12B}" srcOrd="1" destOrd="0" presId="urn:microsoft.com/office/officeart/2005/8/layout/orgChart1"/>
    <dgm:cxn modelId="{A4BFC5C1-DE2D-411B-BD0C-B23E3E0FC1D4}" type="presParOf" srcId="{BED3E687-68AB-403D-B426-F32C7E996598}" destId="{9D6BDA83-545E-4F18-B532-2B1183EDC461}" srcOrd="1" destOrd="0" presId="urn:microsoft.com/office/officeart/2005/8/layout/orgChart1"/>
    <dgm:cxn modelId="{4AC9E152-A110-46CF-9C5A-EF70B2CABF28}" type="presParOf" srcId="{9D6BDA83-545E-4F18-B532-2B1183EDC461}" destId="{03B7BB75-3081-4A5F-AE84-D0A5017A250E}" srcOrd="0" destOrd="0" presId="urn:microsoft.com/office/officeart/2005/8/layout/orgChart1"/>
    <dgm:cxn modelId="{AD3DDB7B-6260-49F2-AF14-7391EF9B9716}" type="presParOf" srcId="{9D6BDA83-545E-4F18-B532-2B1183EDC461}" destId="{AAE82C01-9B1E-4BDB-9AA6-F49DF2A6D565}" srcOrd="1" destOrd="0" presId="urn:microsoft.com/office/officeart/2005/8/layout/orgChart1"/>
    <dgm:cxn modelId="{436FB727-2877-4BA3-8209-3E70632CA822}" type="presParOf" srcId="{AAE82C01-9B1E-4BDB-9AA6-F49DF2A6D565}" destId="{789F8C9E-6D9D-4A5F-B33E-CF2CDDC0FE07}" srcOrd="0" destOrd="0" presId="urn:microsoft.com/office/officeart/2005/8/layout/orgChart1"/>
    <dgm:cxn modelId="{614F01B0-114F-48BF-8961-D536AEB29E08}" type="presParOf" srcId="{789F8C9E-6D9D-4A5F-B33E-CF2CDDC0FE07}" destId="{5677D944-029C-484C-80A5-13BC10A104E4}" srcOrd="0" destOrd="0" presId="urn:microsoft.com/office/officeart/2005/8/layout/orgChart1"/>
    <dgm:cxn modelId="{563ABD7B-3CAE-48A7-B39F-857D6CD2E2F4}" type="presParOf" srcId="{789F8C9E-6D9D-4A5F-B33E-CF2CDDC0FE07}" destId="{DED8561A-5A8E-4CBE-8FC6-607A83CFC3C4}" srcOrd="1" destOrd="0" presId="urn:microsoft.com/office/officeart/2005/8/layout/orgChart1"/>
    <dgm:cxn modelId="{4109C0C9-678B-4E7B-8D81-88C7D2A35F17}" type="presParOf" srcId="{AAE82C01-9B1E-4BDB-9AA6-F49DF2A6D565}" destId="{3831CA35-AD51-4A69-83E3-FF0577D16A5E}" srcOrd="1" destOrd="0" presId="urn:microsoft.com/office/officeart/2005/8/layout/orgChart1"/>
    <dgm:cxn modelId="{23924A62-4461-404B-A1FD-ECE173FBE0FB}" type="presParOf" srcId="{AAE82C01-9B1E-4BDB-9AA6-F49DF2A6D565}" destId="{82A76FF6-95A5-4DEA-B163-853D1B7CC810}" srcOrd="2" destOrd="0" presId="urn:microsoft.com/office/officeart/2005/8/layout/orgChart1"/>
    <dgm:cxn modelId="{70F1A22A-F2E8-41B3-A969-B75F4CF583FB}" type="presParOf" srcId="{9D6BDA83-545E-4F18-B532-2B1183EDC461}" destId="{F0E31743-868F-406B-876C-6B11BD573394}" srcOrd="2" destOrd="0" presId="urn:microsoft.com/office/officeart/2005/8/layout/orgChart1"/>
    <dgm:cxn modelId="{3662EADF-DEF1-4BAB-B0C2-9EC62E716944}" type="presParOf" srcId="{9D6BDA83-545E-4F18-B532-2B1183EDC461}" destId="{E6309739-1F4D-4497-827A-E880C3DCA78F}" srcOrd="3" destOrd="0" presId="urn:microsoft.com/office/officeart/2005/8/layout/orgChart1"/>
    <dgm:cxn modelId="{50FC31F8-24B7-47B0-BA6D-1CAB2708969B}" type="presParOf" srcId="{E6309739-1F4D-4497-827A-E880C3DCA78F}" destId="{66E01AAD-E40B-443E-A412-2B238AC2E416}" srcOrd="0" destOrd="0" presId="urn:microsoft.com/office/officeart/2005/8/layout/orgChart1"/>
    <dgm:cxn modelId="{E296313D-C95E-4452-8634-1724B7912F56}" type="presParOf" srcId="{66E01AAD-E40B-443E-A412-2B238AC2E416}" destId="{B29D70E0-3C5F-46EB-8055-DA38CAFC89E3}" srcOrd="0" destOrd="0" presId="urn:microsoft.com/office/officeart/2005/8/layout/orgChart1"/>
    <dgm:cxn modelId="{AE8E4B74-F824-4038-BE84-6781BA48D2AE}" type="presParOf" srcId="{66E01AAD-E40B-443E-A412-2B238AC2E416}" destId="{6816DE47-4E45-46F7-8F85-34A9EBE7EE9B}" srcOrd="1" destOrd="0" presId="urn:microsoft.com/office/officeart/2005/8/layout/orgChart1"/>
    <dgm:cxn modelId="{8A9A376B-F4DA-4BB1-8D7E-16ADC312F0A9}" type="presParOf" srcId="{E6309739-1F4D-4497-827A-E880C3DCA78F}" destId="{6DF654DC-2FE0-4E06-B768-981E5096B814}" srcOrd="1" destOrd="0" presId="urn:microsoft.com/office/officeart/2005/8/layout/orgChart1"/>
    <dgm:cxn modelId="{EB59E22E-268C-4A8D-863A-7F4F405074CB}" type="presParOf" srcId="{E6309739-1F4D-4497-827A-E880C3DCA78F}" destId="{0EDBE25F-D8CF-4E86-A4A2-A241FF863533}" srcOrd="2" destOrd="0" presId="urn:microsoft.com/office/officeart/2005/8/layout/orgChart1"/>
    <dgm:cxn modelId="{82FE3A0F-E451-4B10-808D-43FF86B7F243}" type="presParOf" srcId="{9D6BDA83-545E-4F18-B532-2B1183EDC461}" destId="{2A7675F5-2BBC-4E57-B900-715F59D6F9D8}" srcOrd="4" destOrd="0" presId="urn:microsoft.com/office/officeart/2005/8/layout/orgChart1"/>
    <dgm:cxn modelId="{63E0FF4C-D1B1-4BD6-932E-D372D5DB42A3}" type="presParOf" srcId="{9D6BDA83-545E-4F18-B532-2B1183EDC461}" destId="{A634CCD9-7842-43F4-ADA7-3C411BE8E635}" srcOrd="5" destOrd="0" presId="urn:microsoft.com/office/officeart/2005/8/layout/orgChart1"/>
    <dgm:cxn modelId="{C21D17FE-51EB-401D-A1F1-F77ADAC29314}" type="presParOf" srcId="{A634CCD9-7842-43F4-ADA7-3C411BE8E635}" destId="{A4BA754F-913A-4181-ADB5-181FB8C05FF8}" srcOrd="0" destOrd="0" presId="urn:microsoft.com/office/officeart/2005/8/layout/orgChart1"/>
    <dgm:cxn modelId="{E096C9A3-CE15-49EC-94B7-B9C3D6405ACF}" type="presParOf" srcId="{A4BA754F-913A-4181-ADB5-181FB8C05FF8}" destId="{313ED6A2-462B-4141-834D-9A74299512E5}" srcOrd="0" destOrd="0" presId="urn:microsoft.com/office/officeart/2005/8/layout/orgChart1"/>
    <dgm:cxn modelId="{7C39E2C7-DCE3-4473-932C-AF9E6682AC12}" type="presParOf" srcId="{A4BA754F-913A-4181-ADB5-181FB8C05FF8}" destId="{03E8E9C7-25A4-4E24-9CA9-CB63D43604DC}" srcOrd="1" destOrd="0" presId="urn:microsoft.com/office/officeart/2005/8/layout/orgChart1"/>
    <dgm:cxn modelId="{ABD9AB9F-C61E-4261-8004-BD3681E9BE3F}" type="presParOf" srcId="{A634CCD9-7842-43F4-ADA7-3C411BE8E635}" destId="{78F9D844-8FE7-41F6-8F3A-CF84557DC90F}" srcOrd="1" destOrd="0" presId="urn:microsoft.com/office/officeart/2005/8/layout/orgChart1"/>
    <dgm:cxn modelId="{84BD3DF5-2479-4567-8545-E68F09B385BE}" type="presParOf" srcId="{A634CCD9-7842-43F4-ADA7-3C411BE8E635}" destId="{6949C889-9FDE-4745-9E32-1FB0017B7EB5}" srcOrd="2" destOrd="0" presId="urn:microsoft.com/office/officeart/2005/8/layout/orgChart1"/>
    <dgm:cxn modelId="{AFB4F71F-A0EA-4EF0-8993-A4BD9F4F12E1}" type="presParOf" srcId="{BED3E687-68AB-403D-B426-F32C7E996598}" destId="{5616E69B-D4D1-4D6E-9D00-2C6F18F25F19}" srcOrd="2" destOrd="0" presId="urn:microsoft.com/office/officeart/2005/8/layout/orgChart1"/>
    <dgm:cxn modelId="{C1CBD4F3-A8F9-4FA9-8A84-38522E703DD1}" type="presParOf" srcId="{7CEDCA83-5FB1-4912-AF43-4BFEBFF2F37F}" destId="{5F082D60-CC48-413C-8900-CCAAFA96DCD6}" srcOrd="4" destOrd="0" presId="urn:microsoft.com/office/officeart/2005/8/layout/orgChart1"/>
    <dgm:cxn modelId="{C622396E-3543-4396-8755-A020D768150A}" type="presParOf" srcId="{7CEDCA83-5FB1-4912-AF43-4BFEBFF2F37F}" destId="{04EC3DAB-18E8-4156-B8E4-4C59A7143B86}" srcOrd="5" destOrd="0" presId="urn:microsoft.com/office/officeart/2005/8/layout/orgChart1"/>
    <dgm:cxn modelId="{99BB9A66-4B70-4347-96BB-10DB778C85C2}" type="presParOf" srcId="{04EC3DAB-18E8-4156-B8E4-4C59A7143B86}" destId="{8E6DCB4B-A124-4449-B56C-9A28D31B941E}" srcOrd="0" destOrd="0" presId="urn:microsoft.com/office/officeart/2005/8/layout/orgChart1"/>
    <dgm:cxn modelId="{77B6EC6D-EE98-4328-8F9E-A4425F1B6EB0}" type="presParOf" srcId="{8E6DCB4B-A124-4449-B56C-9A28D31B941E}" destId="{FB8A078E-B2AD-4CEF-B649-EE1D8B296623}" srcOrd="0" destOrd="0" presId="urn:microsoft.com/office/officeart/2005/8/layout/orgChart1"/>
    <dgm:cxn modelId="{60E04E47-0561-4860-B488-8BE206E1A5F1}" type="presParOf" srcId="{8E6DCB4B-A124-4449-B56C-9A28D31B941E}" destId="{E6CDEAD0-CEC9-44F0-B32C-36EE4AF57253}" srcOrd="1" destOrd="0" presId="urn:microsoft.com/office/officeart/2005/8/layout/orgChart1"/>
    <dgm:cxn modelId="{45EF55F7-085C-4AA9-807C-1CAFDB9480D0}" type="presParOf" srcId="{04EC3DAB-18E8-4156-B8E4-4C59A7143B86}" destId="{14C75AB6-196D-4B11-ADB5-CBA632972A58}" srcOrd="1" destOrd="0" presId="urn:microsoft.com/office/officeart/2005/8/layout/orgChart1"/>
    <dgm:cxn modelId="{5D209A0B-0929-47C2-83B1-7E8EDC77ED81}" type="presParOf" srcId="{14C75AB6-196D-4B11-ADB5-CBA632972A58}" destId="{374A45A3-F760-4C0A-96C3-EA44E0B95103}" srcOrd="0" destOrd="0" presId="urn:microsoft.com/office/officeart/2005/8/layout/orgChart1"/>
    <dgm:cxn modelId="{5E5BAF22-5FDF-4267-8DF4-22EEB34DDFB8}" type="presParOf" srcId="{14C75AB6-196D-4B11-ADB5-CBA632972A58}" destId="{B38A7F84-4BFD-4C12-8AD6-B8057318B1AB}" srcOrd="1" destOrd="0" presId="urn:microsoft.com/office/officeart/2005/8/layout/orgChart1"/>
    <dgm:cxn modelId="{CCF48B33-5207-47F2-9994-1738EA93B222}" type="presParOf" srcId="{B38A7F84-4BFD-4C12-8AD6-B8057318B1AB}" destId="{09539B0C-DD06-4B17-AD06-E1388041201E}" srcOrd="0" destOrd="0" presId="urn:microsoft.com/office/officeart/2005/8/layout/orgChart1"/>
    <dgm:cxn modelId="{BACE4327-53C9-40BC-B04D-FDD6DADB9870}" type="presParOf" srcId="{09539B0C-DD06-4B17-AD06-E1388041201E}" destId="{5EF3B480-E935-4555-B3CF-B0EEC2DD1246}" srcOrd="0" destOrd="0" presId="urn:microsoft.com/office/officeart/2005/8/layout/orgChart1"/>
    <dgm:cxn modelId="{D40185C2-B38B-4956-914F-A853AA835E53}" type="presParOf" srcId="{09539B0C-DD06-4B17-AD06-E1388041201E}" destId="{EDDDFF92-DBE7-4D93-B07E-41CBE5E88BAD}" srcOrd="1" destOrd="0" presId="urn:microsoft.com/office/officeart/2005/8/layout/orgChart1"/>
    <dgm:cxn modelId="{EB117ABA-08EB-4040-B28E-2CB00351558A}" type="presParOf" srcId="{B38A7F84-4BFD-4C12-8AD6-B8057318B1AB}" destId="{D4F44F7A-5848-4FC9-842E-D2E4AA036C94}" srcOrd="1" destOrd="0" presId="urn:microsoft.com/office/officeart/2005/8/layout/orgChart1"/>
    <dgm:cxn modelId="{1EB9AF08-7831-485C-856A-E310DCE3392C}" type="presParOf" srcId="{B38A7F84-4BFD-4C12-8AD6-B8057318B1AB}" destId="{D7807BFB-2334-4967-A9DF-396281E8F386}" srcOrd="2" destOrd="0" presId="urn:microsoft.com/office/officeart/2005/8/layout/orgChart1"/>
    <dgm:cxn modelId="{16AD8BD6-073D-479C-9A32-F25AE75D5310}" type="presParOf" srcId="{14C75AB6-196D-4B11-ADB5-CBA632972A58}" destId="{859C8F32-68AE-41D1-8F21-AF2ADD282176}" srcOrd="2" destOrd="0" presId="urn:microsoft.com/office/officeart/2005/8/layout/orgChart1"/>
    <dgm:cxn modelId="{6CC8A217-DB25-4F02-A803-04B1AF8AFFCA}" type="presParOf" srcId="{14C75AB6-196D-4B11-ADB5-CBA632972A58}" destId="{BFF9784B-3E0A-4CF9-BE9C-FC010035E70C}" srcOrd="3" destOrd="0" presId="urn:microsoft.com/office/officeart/2005/8/layout/orgChart1"/>
    <dgm:cxn modelId="{94CE66AC-0AFA-48B1-A998-050EE30AA415}" type="presParOf" srcId="{BFF9784B-3E0A-4CF9-BE9C-FC010035E70C}" destId="{915A9CAB-388D-4A5A-A5CB-8F9551952D93}" srcOrd="0" destOrd="0" presId="urn:microsoft.com/office/officeart/2005/8/layout/orgChart1"/>
    <dgm:cxn modelId="{19404E58-8970-46CB-B717-3AE6F5EBF1D5}" type="presParOf" srcId="{915A9CAB-388D-4A5A-A5CB-8F9551952D93}" destId="{A58FAC38-F844-4ED7-8E05-301D65C37F2F}" srcOrd="0" destOrd="0" presId="urn:microsoft.com/office/officeart/2005/8/layout/orgChart1"/>
    <dgm:cxn modelId="{99F9398F-5B2E-4A54-837B-FD566D7FEF36}" type="presParOf" srcId="{915A9CAB-388D-4A5A-A5CB-8F9551952D93}" destId="{4A49625A-EA0D-4080-8F6A-1E53C4CB449C}" srcOrd="1" destOrd="0" presId="urn:microsoft.com/office/officeart/2005/8/layout/orgChart1"/>
    <dgm:cxn modelId="{6040314F-3B75-4DFD-961B-D8C17058287F}" type="presParOf" srcId="{BFF9784B-3E0A-4CF9-BE9C-FC010035E70C}" destId="{AC26EC8E-592A-478E-A060-5EE3D973AA4C}" srcOrd="1" destOrd="0" presId="urn:microsoft.com/office/officeart/2005/8/layout/orgChart1"/>
    <dgm:cxn modelId="{1E781FBE-B1E3-4D43-A2F1-B5476162F35C}" type="presParOf" srcId="{AC26EC8E-592A-478E-A060-5EE3D973AA4C}" destId="{AAF14733-7772-4221-A3F0-B49E68B56A28}" srcOrd="0" destOrd="0" presId="urn:microsoft.com/office/officeart/2005/8/layout/orgChart1"/>
    <dgm:cxn modelId="{233E28FF-A632-4034-9705-EDDF4807EC99}" type="presParOf" srcId="{AC26EC8E-592A-478E-A060-5EE3D973AA4C}" destId="{FFB51502-1036-4630-8505-3997E874DD93}" srcOrd="1" destOrd="0" presId="urn:microsoft.com/office/officeart/2005/8/layout/orgChart1"/>
    <dgm:cxn modelId="{CFF6567B-C95A-4B4E-90E0-BBEFFA97CBFA}" type="presParOf" srcId="{FFB51502-1036-4630-8505-3997E874DD93}" destId="{C43C2852-48E8-4A5E-AD4E-EE7E64E812EB}" srcOrd="0" destOrd="0" presId="urn:microsoft.com/office/officeart/2005/8/layout/orgChart1"/>
    <dgm:cxn modelId="{02787341-5E93-4FDF-A197-4A5F3A78935C}" type="presParOf" srcId="{C43C2852-48E8-4A5E-AD4E-EE7E64E812EB}" destId="{25C1F27A-1E2D-4892-BB4F-57A7E4F11EDF}" srcOrd="0" destOrd="0" presId="urn:microsoft.com/office/officeart/2005/8/layout/orgChart1"/>
    <dgm:cxn modelId="{7EC29D62-E3EA-4F4E-928E-2C97CAA76238}" type="presParOf" srcId="{C43C2852-48E8-4A5E-AD4E-EE7E64E812EB}" destId="{DF1B4D46-6B4C-4E13-87A0-8C66A3638BAA}" srcOrd="1" destOrd="0" presId="urn:microsoft.com/office/officeart/2005/8/layout/orgChart1"/>
    <dgm:cxn modelId="{ED93AA08-8460-4999-91F6-B5A07BB552C3}" type="presParOf" srcId="{FFB51502-1036-4630-8505-3997E874DD93}" destId="{65966E55-D924-4D7D-A156-54B39C3F9ED4}" srcOrd="1" destOrd="0" presId="urn:microsoft.com/office/officeart/2005/8/layout/orgChart1"/>
    <dgm:cxn modelId="{A5D79C94-D87A-4FD4-891B-F1FC4989DC3A}" type="presParOf" srcId="{FFB51502-1036-4630-8505-3997E874DD93}" destId="{ACDB778C-B25A-4EEF-B245-0515846336BF}" srcOrd="2" destOrd="0" presId="urn:microsoft.com/office/officeart/2005/8/layout/orgChart1"/>
    <dgm:cxn modelId="{BB72BAED-0E52-4978-8E23-EBDE3D6D629B}" type="presParOf" srcId="{AC26EC8E-592A-478E-A060-5EE3D973AA4C}" destId="{B6489E13-5EBB-46EA-BAD7-DF8FF1BD9538}" srcOrd="2" destOrd="0" presId="urn:microsoft.com/office/officeart/2005/8/layout/orgChart1"/>
    <dgm:cxn modelId="{BF202A1F-4D61-410D-8353-A7F86561F32A}" type="presParOf" srcId="{AC26EC8E-592A-478E-A060-5EE3D973AA4C}" destId="{A688714A-BC39-42F4-9BFE-238E07F857B5}" srcOrd="3" destOrd="0" presId="urn:microsoft.com/office/officeart/2005/8/layout/orgChart1"/>
    <dgm:cxn modelId="{C3C938E4-EC84-4646-939B-419A70936E06}" type="presParOf" srcId="{A688714A-BC39-42F4-9BFE-238E07F857B5}" destId="{EDDFF759-A286-4F50-AB2C-988002415CB9}" srcOrd="0" destOrd="0" presId="urn:microsoft.com/office/officeart/2005/8/layout/orgChart1"/>
    <dgm:cxn modelId="{ECD8EEC0-9872-47E6-BFF6-3A375C3CB465}" type="presParOf" srcId="{EDDFF759-A286-4F50-AB2C-988002415CB9}" destId="{DD7130DD-593A-4323-998D-55A96692D1AD}" srcOrd="0" destOrd="0" presId="urn:microsoft.com/office/officeart/2005/8/layout/orgChart1"/>
    <dgm:cxn modelId="{B3E5F584-2CB7-490B-84B5-B7FD90AF200C}" type="presParOf" srcId="{EDDFF759-A286-4F50-AB2C-988002415CB9}" destId="{CC79A65C-021F-416B-8170-45C80F66D6E8}" srcOrd="1" destOrd="0" presId="urn:microsoft.com/office/officeart/2005/8/layout/orgChart1"/>
    <dgm:cxn modelId="{F51A05FE-0AA0-45FB-A0F9-D861F24F1781}" type="presParOf" srcId="{A688714A-BC39-42F4-9BFE-238E07F857B5}" destId="{1C655490-F002-4360-9641-2D59473C0E16}" srcOrd="1" destOrd="0" presId="urn:microsoft.com/office/officeart/2005/8/layout/orgChart1"/>
    <dgm:cxn modelId="{44BCE814-3A2E-4FC0-9F7C-6BFE95E1D54A}" type="presParOf" srcId="{A688714A-BC39-42F4-9BFE-238E07F857B5}" destId="{887821ED-2E3D-4444-8567-FECAC8D044DA}" srcOrd="2" destOrd="0" presId="urn:microsoft.com/office/officeart/2005/8/layout/orgChart1"/>
    <dgm:cxn modelId="{507588D4-4019-4781-BB7C-63C5BE9E8B75}" type="presParOf" srcId="{AC26EC8E-592A-478E-A060-5EE3D973AA4C}" destId="{AAB28D6A-8651-4C2D-A93F-547F675057B1}" srcOrd="4" destOrd="0" presId="urn:microsoft.com/office/officeart/2005/8/layout/orgChart1"/>
    <dgm:cxn modelId="{899E52BE-6D61-4B79-87A2-731284D5BA19}" type="presParOf" srcId="{AC26EC8E-592A-478E-A060-5EE3D973AA4C}" destId="{FDD37F11-1C21-4775-BDF3-129BCBC09A3A}" srcOrd="5" destOrd="0" presId="urn:microsoft.com/office/officeart/2005/8/layout/orgChart1"/>
    <dgm:cxn modelId="{BD71F456-6992-47F4-B0AE-09B5C2F072F8}" type="presParOf" srcId="{FDD37F11-1C21-4775-BDF3-129BCBC09A3A}" destId="{FCD25E20-914E-4CE0-902C-00E98C43450B}" srcOrd="0" destOrd="0" presId="urn:microsoft.com/office/officeart/2005/8/layout/orgChart1"/>
    <dgm:cxn modelId="{2A6F5E19-F170-46C3-B9BA-D0AFAA74E165}" type="presParOf" srcId="{FCD25E20-914E-4CE0-902C-00E98C43450B}" destId="{4C681653-6A95-44B8-8E18-604E239A8921}" srcOrd="0" destOrd="0" presId="urn:microsoft.com/office/officeart/2005/8/layout/orgChart1"/>
    <dgm:cxn modelId="{E88ACBB2-3070-47F8-9ECE-F823EEBDC43F}" type="presParOf" srcId="{FCD25E20-914E-4CE0-902C-00E98C43450B}" destId="{4A26C2DD-ECFA-481B-9EC4-D765867E3F5D}" srcOrd="1" destOrd="0" presId="urn:microsoft.com/office/officeart/2005/8/layout/orgChart1"/>
    <dgm:cxn modelId="{A5219F72-7A73-4BC7-A043-09D931146056}" type="presParOf" srcId="{FDD37F11-1C21-4775-BDF3-129BCBC09A3A}" destId="{5597CB20-0B74-40E6-B3E3-0781339B0A29}" srcOrd="1" destOrd="0" presId="urn:microsoft.com/office/officeart/2005/8/layout/orgChart1"/>
    <dgm:cxn modelId="{4B75CF0B-A4E1-4497-9E99-67084BCCA743}" type="presParOf" srcId="{FDD37F11-1C21-4775-BDF3-129BCBC09A3A}" destId="{6B8C6D94-65A1-4C27-AF0E-CB730DBB3943}" srcOrd="2" destOrd="0" presId="urn:microsoft.com/office/officeart/2005/8/layout/orgChart1"/>
    <dgm:cxn modelId="{89153B12-2F3E-4D48-B7F5-CB967760119C}" type="presParOf" srcId="{BFF9784B-3E0A-4CF9-BE9C-FC010035E70C}" destId="{7C1E7FEE-F303-4C06-A5EA-4B89AB6E9F40}" srcOrd="2" destOrd="0" presId="urn:microsoft.com/office/officeart/2005/8/layout/orgChart1"/>
    <dgm:cxn modelId="{E8B73178-5D6E-4CFD-A5F1-2ABF4F065A1E}" type="presParOf" srcId="{04EC3DAB-18E8-4156-B8E4-4C59A7143B86}" destId="{292B17F6-3B17-409D-BDF6-F3FA5C93D47E}" srcOrd="2" destOrd="0" presId="urn:microsoft.com/office/officeart/2005/8/layout/orgChart1"/>
    <dgm:cxn modelId="{72B49909-5ACA-4FF6-85E5-19335B54CDA1}" type="presParOf" srcId="{F6F7935D-6530-4593-AE5C-8F4559AFEF00}" destId="{09A91909-8447-4F2B-B1BB-18494BA2637D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26E1133-27F8-42A1-91FE-23383B9ACC99}" type="doc">
      <dgm:prSet loTypeId="urn:microsoft.com/office/officeart/2005/8/layout/orgChart1" loCatId="hierarchy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3BDC9E6-B3ED-4E11-B81F-A36F96CA06AD}">
      <dgm:prSet custT="1"/>
      <dgm:spPr/>
      <dgm:t>
        <a:bodyPr/>
        <a:lstStyle/>
        <a:p>
          <a:pPr rtl="0"/>
          <a:r>
            <a:rPr lang="en-US" sz="2000" dirty="0" smtClean="0"/>
            <a:t>Security</a:t>
          </a:r>
          <a:endParaRPr lang="en-US" sz="2000" dirty="0"/>
        </a:p>
      </dgm:t>
    </dgm:pt>
    <dgm:pt modelId="{818B4425-229C-4D05-BD73-F2583AB7B9C5}" type="parTrans" cxnId="{E040E2E2-F016-4F82-9927-EA3D62DA0F57}">
      <dgm:prSet/>
      <dgm:spPr/>
      <dgm:t>
        <a:bodyPr/>
        <a:lstStyle/>
        <a:p>
          <a:endParaRPr lang="en-US" sz="2000"/>
        </a:p>
      </dgm:t>
    </dgm:pt>
    <dgm:pt modelId="{A3D2AA9D-1D2C-45CA-9A99-0FD9E343747F}" type="sibTrans" cxnId="{E040E2E2-F016-4F82-9927-EA3D62DA0F57}">
      <dgm:prSet/>
      <dgm:spPr/>
      <dgm:t>
        <a:bodyPr/>
        <a:lstStyle/>
        <a:p>
          <a:endParaRPr lang="en-US" sz="2000"/>
        </a:p>
      </dgm:t>
    </dgm:pt>
    <dgm:pt modelId="{843E3B21-DC9F-4CF8-A7F1-93BF704E47A7}">
      <dgm:prSet custT="1"/>
      <dgm:spPr/>
      <dgm:t>
        <a:bodyPr/>
        <a:lstStyle/>
        <a:p>
          <a:pPr rtl="0"/>
          <a:r>
            <a:rPr lang="en-US" sz="1800" dirty="0" smtClean="0"/>
            <a:t>Detect</a:t>
          </a:r>
          <a:endParaRPr lang="en-US" sz="1800" dirty="0"/>
        </a:p>
      </dgm:t>
    </dgm:pt>
    <dgm:pt modelId="{3EEFE082-C4FA-499A-BA01-E4B8217A4B73}" type="parTrans" cxnId="{3C110BFF-FD87-473E-9985-0D9D761E60BD}">
      <dgm:prSet/>
      <dgm:spPr/>
      <dgm:t>
        <a:bodyPr/>
        <a:lstStyle/>
        <a:p>
          <a:endParaRPr lang="en-US" sz="2000"/>
        </a:p>
      </dgm:t>
    </dgm:pt>
    <dgm:pt modelId="{2992CB8F-FBF4-486F-BE86-7AEC96D28238}" type="sibTrans" cxnId="{3C110BFF-FD87-473E-9985-0D9D761E60BD}">
      <dgm:prSet/>
      <dgm:spPr/>
      <dgm:t>
        <a:bodyPr/>
        <a:lstStyle/>
        <a:p>
          <a:endParaRPr lang="en-US" sz="2000"/>
        </a:p>
      </dgm:t>
    </dgm:pt>
    <dgm:pt modelId="{A240A1E1-162D-4A6E-A806-B6FF45B3AB68}">
      <dgm:prSet custT="1"/>
      <dgm:spPr/>
      <dgm:t>
        <a:bodyPr/>
        <a:lstStyle/>
        <a:p>
          <a:pPr rtl="0"/>
          <a:r>
            <a:rPr lang="en-US" sz="1600" dirty="0" smtClean="0"/>
            <a:t>Revoke access</a:t>
          </a:r>
          <a:endParaRPr lang="en-US" sz="1600" dirty="0"/>
        </a:p>
      </dgm:t>
    </dgm:pt>
    <dgm:pt modelId="{F0BD47AB-7AC9-40A2-A96D-1A911EFDE7FF}" type="parTrans" cxnId="{CCB5AE26-70F4-4C5B-B53D-136E39A12AC5}">
      <dgm:prSet/>
      <dgm:spPr/>
      <dgm:t>
        <a:bodyPr/>
        <a:lstStyle/>
        <a:p>
          <a:endParaRPr lang="en-US" sz="2000"/>
        </a:p>
      </dgm:t>
    </dgm:pt>
    <dgm:pt modelId="{A12D77FB-8453-4F78-A007-65AD68966259}" type="sibTrans" cxnId="{CCB5AE26-70F4-4C5B-B53D-136E39A12AC5}">
      <dgm:prSet/>
      <dgm:spPr/>
      <dgm:t>
        <a:bodyPr/>
        <a:lstStyle/>
        <a:p>
          <a:endParaRPr lang="en-US" sz="2000"/>
        </a:p>
      </dgm:t>
    </dgm:pt>
    <dgm:pt modelId="{C35FC96E-9015-4790-BDC3-6E0D4D502FCB}">
      <dgm:prSet custT="1"/>
      <dgm:spPr/>
      <dgm:t>
        <a:bodyPr/>
        <a:lstStyle/>
        <a:p>
          <a:pPr rtl="0"/>
          <a:r>
            <a:rPr lang="en-US" sz="1800" dirty="0" smtClean="0"/>
            <a:t>Recover</a:t>
          </a:r>
          <a:endParaRPr lang="en-US" sz="1800" dirty="0"/>
        </a:p>
      </dgm:t>
    </dgm:pt>
    <dgm:pt modelId="{54165FB5-F7A3-4BBF-B199-2BE2BA410DE8}" type="parTrans" cxnId="{C159F786-ED38-476E-9CAF-598C4BA6A40C}">
      <dgm:prSet/>
      <dgm:spPr/>
      <dgm:t>
        <a:bodyPr/>
        <a:lstStyle/>
        <a:p>
          <a:endParaRPr lang="en-US" sz="2000"/>
        </a:p>
      </dgm:t>
    </dgm:pt>
    <dgm:pt modelId="{599E3296-C316-405C-B222-CEA737D995B5}" type="sibTrans" cxnId="{C159F786-ED38-476E-9CAF-598C4BA6A40C}">
      <dgm:prSet/>
      <dgm:spPr/>
      <dgm:t>
        <a:bodyPr/>
        <a:lstStyle/>
        <a:p>
          <a:endParaRPr lang="en-US" sz="2000"/>
        </a:p>
      </dgm:t>
    </dgm:pt>
    <dgm:pt modelId="{AFCA2418-8D6B-4E9C-BE52-FC74C908050F}">
      <dgm:prSet custT="1"/>
      <dgm:spPr/>
      <dgm:t>
        <a:bodyPr/>
        <a:lstStyle/>
        <a:p>
          <a:pPr rtl="0"/>
          <a:r>
            <a:rPr lang="en-US" sz="1600" b="0" u="none" dirty="0" smtClean="0"/>
            <a:t>Maintain Audit trail</a:t>
          </a:r>
          <a:endParaRPr lang="en-US" sz="1600" b="0" u="none" dirty="0"/>
        </a:p>
      </dgm:t>
    </dgm:pt>
    <dgm:pt modelId="{4E25AF54-5C18-4905-8913-7D1EA2AC6905}" type="parTrans" cxnId="{482DB792-4616-4429-8146-834A4E403FCA}">
      <dgm:prSet/>
      <dgm:spPr/>
      <dgm:t>
        <a:bodyPr/>
        <a:lstStyle/>
        <a:p>
          <a:endParaRPr lang="en-US" sz="2000"/>
        </a:p>
      </dgm:t>
    </dgm:pt>
    <dgm:pt modelId="{2863A287-FD1D-46AB-958E-D6DB7D840902}" type="sibTrans" cxnId="{482DB792-4616-4429-8146-834A4E403FCA}">
      <dgm:prSet/>
      <dgm:spPr/>
      <dgm:t>
        <a:bodyPr/>
        <a:lstStyle/>
        <a:p>
          <a:endParaRPr lang="en-US" sz="2000"/>
        </a:p>
      </dgm:t>
    </dgm:pt>
    <dgm:pt modelId="{E420C67E-C4C2-476B-9B47-FFB47D587009}">
      <dgm:prSet custT="1"/>
      <dgm:spPr/>
      <dgm:t>
        <a:bodyPr/>
        <a:lstStyle/>
        <a:p>
          <a:pPr rtl="0"/>
          <a:r>
            <a:rPr lang="en-US" sz="1800" dirty="0" smtClean="0"/>
            <a:t>Resist/ Prevent</a:t>
          </a:r>
          <a:endParaRPr lang="en-US" sz="1800" dirty="0"/>
        </a:p>
      </dgm:t>
    </dgm:pt>
    <dgm:pt modelId="{65D088B7-B36E-49AA-84B9-2BC51B326EA1}" type="parTrans" cxnId="{2AC6A1A2-FDAF-4C07-BF93-78DC05214544}">
      <dgm:prSet/>
      <dgm:spPr/>
      <dgm:t>
        <a:bodyPr/>
        <a:lstStyle/>
        <a:p>
          <a:endParaRPr lang="en-US"/>
        </a:p>
      </dgm:t>
    </dgm:pt>
    <dgm:pt modelId="{7CC715FB-928E-4CFE-A8F5-045F16B2D743}" type="sibTrans" cxnId="{2AC6A1A2-FDAF-4C07-BF93-78DC05214544}">
      <dgm:prSet/>
      <dgm:spPr/>
      <dgm:t>
        <a:bodyPr/>
        <a:lstStyle/>
        <a:p>
          <a:endParaRPr lang="en-US"/>
        </a:p>
      </dgm:t>
    </dgm:pt>
    <dgm:pt modelId="{1CE2D78B-C788-472A-8424-7F9A4AB5205E}">
      <dgm:prSet custT="1"/>
      <dgm:spPr/>
      <dgm:t>
        <a:bodyPr/>
        <a:lstStyle/>
        <a:p>
          <a:pPr rtl="0"/>
          <a:r>
            <a:rPr lang="en-US" sz="1800" dirty="0" smtClean="0"/>
            <a:t>React</a:t>
          </a:r>
          <a:endParaRPr lang="en-US" sz="1800" dirty="0"/>
        </a:p>
      </dgm:t>
    </dgm:pt>
    <dgm:pt modelId="{6ED4E1AA-EFDD-4E70-836E-3DB36084DE98}" type="parTrans" cxnId="{0D252A7C-EA88-478B-9AB7-96B65AE1E68A}">
      <dgm:prSet/>
      <dgm:spPr/>
      <dgm:t>
        <a:bodyPr/>
        <a:lstStyle/>
        <a:p>
          <a:endParaRPr lang="en-US"/>
        </a:p>
      </dgm:t>
    </dgm:pt>
    <dgm:pt modelId="{1D0F051B-C9A8-457A-BE08-985EF4C28172}" type="sibTrans" cxnId="{0D252A7C-EA88-478B-9AB7-96B65AE1E68A}">
      <dgm:prSet/>
      <dgm:spPr/>
      <dgm:t>
        <a:bodyPr/>
        <a:lstStyle/>
        <a:p>
          <a:endParaRPr lang="en-US"/>
        </a:p>
      </dgm:t>
    </dgm:pt>
    <dgm:pt modelId="{C6E107C8-C87F-4E03-9C51-3B0FC309122B}">
      <dgm:prSet custT="1"/>
      <dgm:spPr/>
      <dgm:t>
        <a:bodyPr/>
        <a:lstStyle/>
        <a:p>
          <a:pPr rtl="0"/>
          <a:r>
            <a:rPr lang="en-US" sz="1600" dirty="0" smtClean="0"/>
            <a:t>Restore</a:t>
          </a:r>
          <a:endParaRPr lang="en-US" sz="1600" dirty="0"/>
        </a:p>
      </dgm:t>
    </dgm:pt>
    <dgm:pt modelId="{645C00E4-762B-4277-AD48-4328B4AF7430}" type="parTrans" cxnId="{AF611182-AAE8-4190-BE35-A2473E50306B}">
      <dgm:prSet/>
      <dgm:spPr/>
      <dgm:t>
        <a:bodyPr/>
        <a:lstStyle/>
        <a:p>
          <a:endParaRPr lang="en-US"/>
        </a:p>
      </dgm:t>
    </dgm:pt>
    <dgm:pt modelId="{E622C44F-BC5B-49E7-9D58-720E5F6040E1}" type="sibTrans" cxnId="{AF611182-AAE8-4190-BE35-A2473E50306B}">
      <dgm:prSet/>
      <dgm:spPr/>
      <dgm:t>
        <a:bodyPr/>
        <a:lstStyle/>
        <a:p>
          <a:endParaRPr lang="en-US"/>
        </a:p>
      </dgm:t>
    </dgm:pt>
    <dgm:pt modelId="{09967023-FD4B-4E34-A1C9-A393B75E32BA}">
      <dgm:prSet custT="1"/>
      <dgm:spPr/>
      <dgm:t>
        <a:bodyPr/>
        <a:lstStyle/>
        <a:p>
          <a:pPr rtl="0"/>
          <a:r>
            <a:rPr lang="en-US" sz="1600" dirty="0" smtClean="0"/>
            <a:t>Use availability tactics</a:t>
          </a:r>
          <a:endParaRPr lang="en-US" sz="1600" dirty="0"/>
        </a:p>
      </dgm:t>
    </dgm:pt>
    <dgm:pt modelId="{28774598-E592-4921-B255-0225EB6D096E}" type="parTrans" cxnId="{DB925F6A-7761-4D5E-84C9-D63652FE2570}">
      <dgm:prSet/>
      <dgm:spPr/>
      <dgm:t>
        <a:bodyPr/>
        <a:lstStyle/>
        <a:p>
          <a:endParaRPr lang="en-US"/>
        </a:p>
      </dgm:t>
    </dgm:pt>
    <dgm:pt modelId="{0B7B4A03-7BEB-45DD-A62C-7505C5BC4A5B}" type="sibTrans" cxnId="{DB925F6A-7761-4D5E-84C9-D63652FE2570}">
      <dgm:prSet/>
      <dgm:spPr/>
      <dgm:t>
        <a:bodyPr/>
        <a:lstStyle/>
        <a:p>
          <a:endParaRPr lang="en-US"/>
        </a:p>
      </dgm:t>
    </dgm:pt>
    <dgm:pt modelId="{35016019-1F0E-47A9-A9CB-AE98C0AFCFC1}">
      <dgm:prSet custT="1"/>
      <dgm:spPr/>
      <dgm:t>
        <a:bodyPr/>
        <a:lstStyle/>
        <a:p>
          <a:pPr rtl="0"/>
          <a:r>
            <a:rPr lang="en-US" sz="1600" dirty="0" smtClean="0"/>
            <a:t>Lock system</a:t>
          </a:r>
          <a:endParaRPr lang="en-US" sz="1600" dirty="0"/>
        </a:p>
      </dgm:t>
    </dgm:pt>
    <dgm:pt modelId="{A60BCA66-49BB-4275-9110-8B471B3FC59B}" type="parTrans" cxnId="{F0C0AED6-3BFB-430A-84C4-C1842ECA49F1}">
      <dgm:prSet/>
      <dgm:spPr/>
      <dgm:t>
        <a:bodyPr/>
        <a:lstStyle/>
        <a:p>
          <a:endParaRPr lang="en-US"/>
        </a:p>
      </dgm:t>
    </dgm:pt>
    <dgm:pt modelId="{549EC933-326F-43C6-A4AD-B0C6604A5CF9}" type="sibTrans" cxnId="{F0C0AED6-3BFB-430A-84C4-C1842ECA49F1}">
      <dgm:prSet/>
      <dgm:spPr/>
      <dgm:t>
        <a:bodyPr/>
        <a:lstStyle/>
        <a:p>
          <a:endParaRPr lang="en-US"/>
        </a:p>
      </dgm:t>
    </dgm:pt>
    <dgm:pt modelId="{49742260-F14F-4BCB-8D88-ADD2EB5024EC}">
      <dgm:prSet custT="1"/>
      <dgm:spPr/>
      <dgm:t>
        <a:bodyPr/>
        <a:lstStyle/>
        <a:p>
          <a:pPr rtl="0"/>
          <a:r>
            <a:rPr lang="en-US" sz="1600" dirty="0" smtClean="0"/>
            <a:t>Alert actors</a:t>
          </a:r>
          <a:endParaRPr lang="en-US" sz="1600" dirty="0"/>
        </a:p>
      </dgm:t>
    </dgm:pt>
    <dgm:pt modelId="{9275B05E-F520-4192-9B33-84AEEBC3F62D}" type="parTrans" cxnId="{A0E66910-A417-4433-846A-E364FADC3533}">
      <dgm:prSet/>
      <dgm:spPr/>
      <dgm:t>
        <a:bodyPr/>
        <a:lstStyle/>
        <a:p>
          <a:endParaRPr lang="en-US"/>
        </a:p>
      </dgm:t>
    </dgm:pt>
    <dgm:pt modelId="{BDB94797-518D-4543-8D6F-13596FEC7A22}" type="sibTrans" cxnId="{A0E66910-A417-4433-846A-E364FADC3533}">
      <dgm:prSet/>
      <dgm:spPr/>
      <dgm:t>
        <a:bodyPr/>
        <a:lstStyle/>
        <a:p>
          <a:endParaRPr lang="en-US"/>
        </a:p>
      </dgm:t>
    </dgm:pt>
    <dgm:pt modelId="{0216D3CF-84E5-4443-8082-6C6C297E9A4D}">
      <dgm:prSet custT="1"/>
      <dgm:spPr/>
      <dgm:t>
        <a:bodyPr/>
        <a:lstStyle/>
        <a:p>
          <a:pPr rtl="0"/>
          <a:r>
            <a:rPr lang="en-US" sz="1600" dirty="0" smtClean="0"/>
            <a:t>Identify actors</a:t>
          </a:r>
          <a:endParaRPr lang="en-US" sz="1600" dirty="0"/>
        </a:p>
      </dgm:t>
    </dgm:pt>
    <dgm:pt modelId="{C3334397-F4C9-43FD-9DE7-786437A51BF8}" type="parTrans" cxnId="{EF17C288-FABF-470A-9F6E-6F1AC60C08BE}">
      <dgm:prSet/>
      <dgm:spPr/>
      <dgm:t>
        <a:bodyPr/>
        <a:lstStyle/>
        <a:p>
          <a:endParaRPr lang="en-US"/>
        </a:p>
      </dgm:t>
    </dgm:pt>
    <dgm:pt modelId="{9C27E3D0-AEBB-4C4C-AFEA-8F9AF608B21E}" type="sibTrans" cxnId="{EF17C288-FABF-470A-9F6E-6F1AC60C08BE}">
      <dgm:prSet/>
      <dgm:spPr/>
      <dgm:t>
        <a:bodyPr/>
        <a:lstStyle/>
        <a:p>
          <a:endParaRPr lang="en-US"/>
        </a:p>
      </dgm:t>
    </dgm:pt>
    <dgm:pt modelId="{90833815-F732-45AF-B735-7A208BE16A8A}">
      <dgm:prSet custT="1"/>
      <dgm:spPr/>
      <dgm:t>
        <a:bodyPr/>
        <a:lstStyle/>
        <a:p>
          <a:pPr rtl="0"/>
          <a:r>
            <a:rPr lang="en-US" sz="1600" dirty="0" smtClean="0"/>
            <a:t>Authenticate and authorize actors</a:t>
          </a:r>
          <a:endParaRPr lang="en-US" sz="1600" dirty="0"/>
        </a:p>
      </dgm:t>
    </dgm:pt>
    <dgm:pt modelId="{62301F5E-BDD5-4369-B9CF-5999FECA1C85}" type="parTrans" cxnId="{A630084D-67F8-48A7-9951-F46F3604D1B4}">
      <dgm:prSet/>
      <dgm:spPr/>
      <dgm:t>
        <a:bodyPr/>
        <a:lstStyle/>
        <a:p>
          <a:endParaRPr lang="en-US"/>
        </a:p>
      </dgm:t>
    </dgm:pt>
    <dgm:pt modelId="{7A88FAF5-FAAB-4848-B347-2B42AF8023FF}" type="sibTrans" cxnId="{A630084D-67F8-48A7-9951-F46F3604D1B4}">
      <dgm:prSet/>
      <dgm:spPr/>
      <dgm:t>
        <a:bodyPr/>
        <a:lstStyle/>
        <a:p>
          <a:endParaRPr lang="en-US"/>
        </a:p>
      </dgm:t>
    </dgm:pt>
    <dgm:pt modelId="{2F6572D1-3E4E-41CC-B816-15F6AA753750}">
      <dgm:prSet custT="1"/>
      <dgm:spPr/>
      <dgm:t>
        <a:bodyPr/>
        <a:lstStyle/>
        <a:p>
          <a:pPr rtl="0"/>
          <a:r>
            <a:rPr lang="en-US" sz="1600" dirty="0" smtClean="0"/>
            <a:t>Limit access and exposure</a:t>
          </a:r>
          <a:endParaRPr lang="en-US" sz="1600" dirty="0"/>
        </a:p>
      </dgm:t>
    </dgm:pt>
    <dgm:pt modelId="{453F9760-1876-428B-8CB6-DA8F60516D89}" type="parTrans" cxnId="{06E71150-3811-4FC5-8858-0203DD6C998E}">
      <dgm:prSet/>
      <dgm:spPr/>
      <dgm:t>
        <a:bodyPr/>
        <a:lstStyle/>
        <a:p>
          <a:endParaRPr lang="en-US"/>
        </a:p>
      </dgm:t>
    </dgm:pt>
    <dgm:pt modelId="{F36BC338-6ADD-4D27-8F50-A2943AF092AF}" type="sibTrans" cxnId="{06E71150-3811-4FC5-8858-0203DD6C998E}">
      <dgm:prSet/>
      <dgm:spPr/>
      <dgm:t>
        <a:bodyPr/>
        <a:lstStyle/>
        <a:p>
          <a:endParaRPr lang="en-US"/>
        </a:p>
      </dgm:t>
    </dgm:pt>
    <dgm:pt modelId="{CFEBB133-5D80-4E9D-815E-BA7E2B5804D2}">
      <dgm:prSet custT="1"/>
      <dgm:spPr/>
      <dgm:t>
        <a:bodyPr/>
        <a:lstStyle/>
        <a:p>
          <a:pPr rtl="0"/>
          <a:r>
            <a:rPr lang="en-US" sz="1600" dirty="0" smtClean="0"/>
            <a:t>Maintain data confidentiality</a:t>
          </a:r>
          <a:endParaRPr lang="en-US" sz="1600" dirty="0"/>
        </a:p>
      </dgm:t>
    </dgm:pt>
    <dgm:pt modelId="{6C5C9B86-7AAA-465B-98FF-E3F38189A3AE}" type="parTrans" cxnId="{7E8A394C-0B32-41E9-BC7B-038412EB61D4}">
      <dgm:prSet/>
      <dgm:spPr/>
      <dgm:t>
        <a:bodyPr/>
        <a:lstStyle/>
        <a:p>
          <a:endParaRPr lang="en-US"/>
        </a:p>
      </dgm:t>
    </dgm:pt>
    <dgm:pt modelId="{7FDECB7D-540F-4AC8-A911-0EDE43878630}" type="sibTrans" cxnId="{7E8A394C-0B32-41E9-BC7B-038412EB61D4}">
      <dgm:prSet/>
      <dgm:spPr/>
      <dgm:t>
        <a:bodyPr/>
        <a:lstStyle/>
        <a:p>
          <a:endParaRPr lang="en-US"/>
        </a:p>
      </dgm:t>
    </dgm:pt>
    <dgm:pt modelId="{720AE7B9-47AD-4FF9-8447-DF1B8C5FD193}">
      <dgm:prSet custT="1"/>
      <dgm:spPr/>
      <dgm:t>
        <a:bodyPr/>
        <a:lstStyle/>
        <a:p>
          <a:pPr rtl="0"/>
          <a:r>
            <a:rPr lang="en-US" sz="1600" dirty="0" smtClean="0"/>
            <a:t>Intrusion detection</a:t>
          </a:r>
          <a:endParaRPr lang="en-US" sz="1600" dirty="0"/>
        </a:p>
      </dgm:t>
    </dgm:pt>
    <dgm:pt modelId="{3722DDF4-26E2-4422-A516-DEEAC3ECF65B}" type="parTrans" cxnId="{C7B12242-93F1-42B1-8149-73B2BE7E9DC0}">
      <dgm:prSet/>
      <dgm:spPr/>
      <dgm:t>
        <a:bodyPr/>
        <a:lstStyle/>
        <a:p>
          <a:endParaRPr lang="en-US"/>
        </a:p>
      </dgm:t>
    </dgm:pt>
    <dgm:pt modelId="{D7F902F3-F976-415B-98C3-59057320C539}" type="sibTrans" cxnId="{C7B12242-93F1-42B1-8149-73B2BE7E9DC0}">
      <dgm:prSet/>
      <dgm:spPr/>
      <dgm:t>
        <a:bodyPr/>
        <a:lstStyle/>
        <a:p>
          <a:endParaRPr lang="en-US"/>
        </a:p>
      </dgm:t>
    </dgm:pt>
    <dgm:pt modelId="{7D7C3FA2-CE75-4B7D-A218-416906B8D917}">
      <dgm:prSet custT="1"/>
      <dgm:spPr/>
      <dgm:t>
        <a:bodyPr/>
        <a:lstStyle/>
        <a:p>
          <a:pPr rtl="0"/>
          <a:r>
            <a:rPr lang="en-US" sz="1600" dirty="0" smtClean="0"/>
            <a:t>Detect service denial</a:t>
          </a:r>
          <a:endParaRPr lang="en-US" sz="1600" dirty="0"/>
        </a:p>
      </dgm:t>
    </dgm:pt>
    <dgm:pt modelId="{14236E25-24F5-4DBC-8E23-FED5A30DEF0E}" type="parTrans" cxnId="{2648CEB6-4DB9-42A6-B700-4831395E15AC}">
      <dgm:prSet/>
      <dgm:spPr/>
      <dgm:t>
        <a:bodyPr/>
        <a:lstStyle/>
        <a:p>
          <a:endParaRPr lang="en-US"/>
        </a:p>
      </dgm:t>
    </dgm:pt>
    <dgm:pt modelId="{FB40D391-DB77-4C2C-BDCE-7A207CEAE6FE}" type="sibTrans" cxnId="{2648CEB6-4DB9-42A6-B700-4831395E15AC}">
      <dgm:prSet/>
      <dgm:spPr/>
      <dgm:t>
        <a:bodyPr/>
        <a:lstStyle/>
        <a:p>
          <a:endParaRPr lang="en-US"/>
        </a:p>
      </dgm:t>
    </dgm:pt>
    <dgm:pt modelId="{9B931718-FC68-4B2E-9854-492BCFE6FE83}">
      <dgm:prSet custT="1"/>
      <dgm:spPr/>
      <dgm:t>
        <a:bodyPr/>
        <a:lstStyle/>
        <a:p>
          <a:pPr rtl="0"/>
          <a:r>
            <a:rPr lang="en-US" sz="1600" dirty="0" smtClean="0"/>
            <a:t>Verify message integrity</a:t>
          </a:r>
          <a:endParaRPr lang="en-US" sz="1600" dirty="0"/>
        </a:p>
      </dgm:t>
    </dgm:pt>
    <dgm:pt modelId="{359E2506-5D19-4F9C-8688-C666576175A9}" type="parTrans" cxnId="{6E2E3B55-A6EB-46D7-B7D0-04629FD4C800}">
      <dgm:prSet/>
      <dgm:spPr/>
      <dgm:t>
        <a:bodyPr/>
        <a:lstStyle/>
        <a:p>
          <a:endParaRPr lang="en-US"/>
        </a:p>
      </dgm:t>
    </dgm:pt>
    <dgm:pt modelId="{3113A228-1208-4305-91A0-AEEDFF54B5B2}" type="sibTrans" cxnId="{6E2E3B55-A6EB-46D7-B7D0-04629FD4C800}">
      <dgm:prSet/>
      <dgm:spPr/>
      <dgm:t>
        <a:bodyPr/>
        <a:lstStyle/>
        <a:p>
          <a:endParaRPr lang="en-US"/>
        </a:p>
      </dgm:t>
    </dgm:pt>
    <dgm:pt modelId="{0B5A8C4E-0287-4775-89CD-4F33BAC9506F}">
      <dgm:prSet custT="1"/>
      <dgm:spPr/>
      <dgm:t>
        <a:bodyPr/>
        <a:lstStyle/>
        <a:p>
          <a:pPr rtl="0"/>
          <a:r>
            <a:rPr lang="en-US" sz="1600" dirty="0" smtClean="0"/>
            <a:t>Detect message delay</a:t>
          </a:r>
          <a:endParaRPr lang="en-US" sz="1600" dirty="0"/>
        </a:p>
      </dgm:t>
    </dgm:pt>
    <dgm:pt modelId="{EF032B47-594B-4FE2-82AA-11F85DCB3B05}" type="parTrans" cxnId="{BF0DC91D-EC32-48A1-86C8-FAB69550103E}">
      <dgm:prSet/>
      <dgm:spPr/>
      <dgm:t>
        <a:bodyPr/>
        <a:lstStyle/>
        <a:p>
          <a:endParaRPr lang="en-US"/>
        </a:p>
      </dgm:t>
    </dgm:pt>
    <dgm:pt modelId="{54EDCA25-2AA2-4C65-8635-EE0E2A7EF78B}" type="sibTrans" cxnId="{BF0DC91D-EC32-48A1-86C8-FAB69550103E}">
      <dgm:prSet/>
      <dgm:spPr/>
      <dgm:t>
        <a:bodyPr/>
        <a:lstStyle/>
        <a:p>
          <a:endParaRPr lang="en-US"/>
        </a:p>
      </dgm:t>
    </dgm:pt>
    <dgm:pt modelId="{52015A54-073D-4B92-8FF1-0F1F5FE1561A}">
      <dgm:prSet custT="1"/>
      <dgm:spPr/>
      <dgm:t>
        <a:bodyPr/>
        <a:lstStyle/>
        <a:p>
          <a:pPr rtl="0"/>
          <a:r>
            <a:rPr lang="en-US" sz="1600" dirty="0" smtClean="0"/>
            <a:t>Change default setting</a:t>
          </a:r>
          <a:endParaRPr lang="en-US" sz="1600" dirty="0"/>
        </a:p>
      </dgm:t>
    </dgm:pt>
    <dgm:pt modelId="{B8FD3D24-FF5C-481A-BFA0-ACCFF5DDB239}" type="parTrans" cxnId="{D5303A83-A782-4BB6-B537-EB76AE21A31F}">
      <dgm:prSet/>
      <dgm:spPr/>
      <dgm:t>
        <a:bodyPr/>
        <a:lstStyle/>
        <a:p>
          <a:endParaRPr lang="en-US"/>
        </a:p>
      </dgm:t>
    </dgm:pt>
    <dgm:pt modelId="{D70B0E39-2F64-4487-9F50-BA872A45E49A}" type="sibTrans" cxnId="{D5303A83-A782-4BB6-B537-EB76AE21A31F}">
      <dgm:prSet/>
      <dgm:spPr/>
      <dgm:t>
        <a:bodyPr/>
        <a:lstStyle/>
        <a:p>
          <a:endParaRPr lang="en-US"/>
        </a:p>
      </dgm:t>
    </dgm:pt>
    <dgm:pt modelId="{E9F5810C-05C5-4937-8779-609DD6BD5CFD}" type="pres">
      <dgm:prSet presAssocID="{A26E1133-27F8-42A1-91FE-23383B9ACC9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5A00B3E-FEA8-439F-999E-8DB6BC95DBC0}" type="pres">
      <dgm:prSet presAssocID="{43BDC9E6-B3ED-4E11-B81F-A36F96CA06AD}" presName="hierRoot1" presStyleCnt="0">
        <dgm:presLayoutVars>
          <dgm:hierBranch val="init"/>
        </dgm:presLayoutVars>
      </dgm:prSet>
      <dgm:spPr/>
    </dgm:pt>
    <dgm:pt modelId="{305CB9B7-E4C6-453D-AC39-1DA3FA25C576}" type="pres">
      <dgm:prSet presAssocID="{43BDC9E6-B3ED-4E11-B81F-A36F96CA06AD}" presName="rootComposite1" presStyleCnt="0"/>
      <dgm:spPr/>
    </dgm:pt>
    <dgm:pt modelId="{1AD90FEA-3135-49C2-A3C0-CFEDDC6405B3}" type="pres">
      <dgm:prSet presAssocID="{43BDC9E6-B3ED-4E11-B81F-A36F96CA06AD}" presName="rootText1" presStyleLbl="node0" presStyleIdx="0" presStyleCnt="1" custScaleX="217502" custScaleY="68885" custLinFactNeighborX="29763" custLinFactNeighborY="-8477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86BC6-06CE-4768-9942-F4420543D5EE}" type="pres">
      <dgm:prSet presAssocID="{43BDC9E6-B3ED-4E11-B81F-A36F96CA06A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C72B6B4-B63E-4FE2-8CC2-5FA221770366}" type="pres">
      <dgm:prSet presAssocID="{43BDC9E6-B3ED-4E11-B81F-A36F96CA06AD}" presName="hierChild2" presStyleCnt="0"/>
      <dgm:spPr/>
    </dgm:pt>
    <dgm:pt modelId="{A3BC68A0-CABF-4126-884C-C90818E1E26E}" type="pres">
      <dgm:prSet presAssocID="{3EEFE082-C4FA-499A-BA01-E4B8217A4B73}" presName="Name37" presStyleLbl="parChTrans1D2" presStyleIdx="0" presStyleCnt="4"/>
      <dgm:spPr/>
      <dgm:t>
        <a:bodyPr/>
        <a:lstStyle/>
        <a:p>
          <a:endParaRPr lang="en-US"/>
        </a:p>
      </dgm:t>
    </dgm:pt>
    <dgm:pt modelId="{9B84C5AA-6259-445A-8F7A-6D366FCBB4AD}" type="pres">
      <dgm:prSet presAssocID="{843E3B21-DC9F-4CF8-A7F1-93BF704E47A7}" presName="hierRoot2" presStyleCnt="0">
        <dgm:presLayoutVars>
          <dgm:hierBranch val="init"/>
        </dgm:presLayoutVars>
      </dgm:prSet>
      <dgm:spPr/>
    </dgm:pt>
    <dgm:pt modelId="{F324FB99-E565-440D-9319-A2867DA87756}" type="pres">
      <dgm:prSet presAssocID="{843E3B21-DC9F-4CF8-A7F1-93BF704E47A7}" presName="rootComposite" presStyleCnt="0"/>
      <dgm:spPr/>
    </dgm:pt>
    <dgm:pt modelId="{5E5C4910-D5C2-4117-9825-0F4E2308A1D4}" type="pres">
      <dgm:prSet presAssocID="{843E3B21-DC9F-4CF8-A7F1-93BF704E47A7}" presName="rootText" presStyleLbl="node2" presStyleIdx="0" presStyleCnt="4" custScaleY="90886" custLinFactNeighborX="17220" custLinFactNeighborY="2220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B22B6A5-BFAD-4E5F-BED0-C002FA69FEEF}" type="pres">
      <dgm:prSet presAssocID="{843E3B21-DC9F-4CF8-A7F1-93BF704E47A7}" presName="rootConnector" presStyleLbl="node2" presStyleIdx="0" presStyleCnt="4"/>
      <dgm:spPr/>
      <dgm:t>
        <a:bodyPr/>
        <a:lstStyle/>
        <a:p>
          <a:endParaRPr lang="en-US"/>
        </a:p>
      </dgm:t>
    </dgm:pt>
    <dgm:pt modelId="{16186025-4BC6-46E2-97F6-F9084F02632D}" type="pres">
      <dgm:prSet presAssocID="{843E3B21-DC9F-4CF8-A7F1-93BF704E47A7}" presName="hierChild4" presStyleCnt="0"/>
      <dgm:spPr/>
    </dgm:pt>
    <dgm:pt modelId="{A83ED5F7-10A0-45C9-B814-5804FA76917E}" type="pres">
      <dgm:prSet presAssocID="{3722DDF4-26E2-4422-A516-DEEAC3ECF65B}" presName="Name37" presStyleLbl="parChTrans1D3" presStyleIdx="0" presStyleCnt="14"/>
      <dgm:spPr/>
      <dgm:t>
        <a:bodyPr/>
        <a:lstStyle/>
        <a:p>
          <a:endParaRPr lang="en-US"/>
        </a:p>
      </dgm:t>
    </dgm:pt>
    <dgm:pt modelId="{D44CFE56-6231-4D51-BDF4-F9842887D455}" type="pres">
      <dgm:prSet presAssocID="{720AE7B9-47AD-4FF9-8447-DF1B8C5FD193}" presName="hierRoot2" presStyleCnt="0">
        <dgm:presLayoutVars>
          <dgm:hierBranch val="init"/>
        </dgm:presLayoutVars>
      </dgm:prSet>
      <dgm:spPr/>
    </dgm:pt>
    <dgm:pt modelId="{F340CB26-8421-44AC-9592-9BB7E87D96B8}" type="pres">
      <dgm:prSet presAssocID="{720AE7B9-47AD-4FF9-8447-DF1B8C5FD193}" presName="rootComposite" presStyleCnt="0"/>
      <dgm:spPr/>
    </dgm:pt>
    <dgm:pt modelId="{1064D61A-5C37-497D-A6F5-6312AB6E3F5A}" type="pres">
      <dgm:prSet presAssocID="{720AE7B9-47AD-4FF9-8447-DF1B8C5FD193}" presName="rootText" presStyleLbl="node3" presStyleIdx="0" presStyleCnt="14" custScaleX="133045" custScaleY="119763" custLinFactY="39326" custLinFactNeighborX="3459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D0BA542-EABF-46D4-A11D-8954A50A4A27}" type="pres">
      <dgm:prSet presAssocID="{720AE7B9-47AD-4FF9-8447-DF1B8C5FD193}" presName="rootConnector" presStyleLbl="node3" presStyleIdx="0" presStyleCnt="14"/>
      <dgm:spPr/>
      <dgm:t>
        <a:bodyPr/>
        <a:lstStyle/>
        <a:p>
          <a:endParaRPr lang="en-US"/>
        </a:p>
      </dgm:t>
    </dgm:pt>
    <dgm:pt modelId="{CB5479DD-BB83-4A7F-A8FE-0204BBEBDE57}" type="pres">
      <dgm:prSet presAssocID="{720AE7B9-47AD-4FF9-8447-DF1B8C5FD193}" presName="hierChild4" presStyleCnt="0"/>
      <dgm:spPr/>
    </dgm:pt>
    <dgm:pt modelId="{72F3B94E-5E2C-4DF9-BCD5-3D635951032C}" type="pres">
      <dgm:prSet presAssocID="{720AE7B9-47AD-4FF9-8447-DF1B8C5FD193}" presName="hierChild5" presStyleCnt="0"/>
      <dgm:spPr/>
    </dgm:pt>
    <dgm:pt modelId="{A2B3E9C0-0CE1-4B88-9E71-F7CE1A7F99D7}" type="pres">
      <dgm:prSet presAssocID="{14236E25-24F5-4DBC-8E23-FED5A30DEF0E}" presName="Name37" presStyleLbl="parChTrans1D3" presStyleIdx="1" presStyleCnt="14"/>
      <dgm:spPr/>
      <dgm:t>
        <a:bodyPr/>
        <a:lstStyle/>
        <a:p>
          <a:endParaRPr lang="en-US"/>
        </a:p>
      </dgm:t>
    </dgm:pt>
    <dgm:pt modelId="{16797127-63BB-4E8C-8005-5E72B3FF9B3C}" type="pres">
      <dgm:prSet presAssocID="{7D7C3FA2-CE75-4B7D-A218-416906B8D917}" presName="hierRoot2" presStyleCnt="0">
        <dgm:presLayoutVars>
          <dgm:hierBranch val="init"/>
        </dgm:presLayoutVars>
      </dgm:prSet>
      <dgm:spPr/>
    </dgm:pt>
    <dgm:pt modelId="{4DFEF789-40AF-4966-81EA-F7C1CBE52773}" type="pres">
      <dgm:prSet presAssocID="{7D7C3FA2-CE75-4B7D-A218-416906B8D917}" presName="rootComposite" presStyleCnt="0"/>
      <dgm:spPr/>
    </dgm:pt>
    <dgm:pt modelId="{A77E27D0-EFD7-495B-9E1A-5A5371B8AB84}" type="pres">
      <dgm:prSet presAssocID="{7D7C3FA2-CE75-4B7D-A218-416906B8D917}" presName="rootText" presStyleLbl="node3" presStyleIdx="1" presStyleCnt="14" custScaleX="130963" custScaleY="119096" custLinFactY="32613" custLinFactNeighborX="36672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3F8734B-291F-4EE9-8AEC-5D7130065FE8}" type="pres">
      <dgm:prSet presAssocID="{7D7C3FA2-CE75-4B7D-A218-416906B8D917}" presName="rootConnector" presStyleLbl="node3" presStyleIdx="1" presStyleCnt="14"/>
      <dgm:spPr/>
      <dgm:t>
        <a:bodyPr/>
        <a:lstStyle/>
        <a:p>
          <a:endParaRPr lang="en-US"/>
        </a:p>
      </dgm:t>
    </dgm:pt>
    <dgm:pt modelId="{F1241E53-1837-4666-9A60-B6AD42958195}" type="pres">
      <dgm:prSet presAssocID="{7D7C3FA2-CE75-4B7D-A218-416906B8D917}" presName="hierChild4" presStyleCnt="0"/>
      <dgm:spPr/>
    </dgm:pt>
    <dgm:pt modelId="{E1079AD2-0C8E-44F0-9596-6D504E6161CE}" type="pres">
      <dgm:prSet presAssocID="{7D7C3FA2-CE75-4B7D-A218-416906B8D917}" presName="hierChild5" presStyleCnt="0"/>
      <dgm:spPr/>
    </dgm:pt>
    <dgm:pt modelId="{50C84909-550F-4BDC-8966-B86E5E1786AE}" type="pres">
      <dgm:prSet presAssocID="{359E2506-5D19-4F9C-8688-C666576175A9}" presName="Name37" presStyleLbl="parChTrans1D3" presStyleIdx="2" presStyleCnt="14"/>
      <dgm:spPr/>
      <dgm:t>
        <a:bodyPr/>
        <a:lstStyle/>
        <a:p>
          <a:endParaRPr lang="en-US"/>
        </a:p>
      </dgm:t>
    </dgm:pt>
    <dgm:pt modelId="{EBCAC25B-3E97-4708-AA7E-0D44E4C06B2C}" type="pres">
      <dgm:prSet presAssocID="{9B931718-FC68-4B2E-9854-492BCFE6FE83}" presName="hierRoot2" presStyleCnt="0">
        <dgm:presLayoutVars>
          <dgm:hierBranch val="init"/>
        </dgm:presLayoutVars>
      </dgm:prSet>
      <dgm:spPr/>
    </dgm:pt>
    <dgm:pt modelId="{56A22D43-7DD1-46E6-B06A-D1D662EE6DAD}" type="pres">
      <dgm:prSet presAssocID="{9B931718-FC68-4B2E-9854-492BCFE6FE83}" presName="rootComposite" presStyleCnt="0"/>
      <dgm:spPr/>
    </dgm:pt>
    <dgm:pt modelId="{984A4F3B-0A00-4E5A-9092-1922B8A7FAB3}" type="pres">
      <dgm:prSet presAssocID="{9B931718-FC68-4B2E-9854-492BCFE6FE83}" presName="rootText" presStyleLbl="node3" presStyleIdx="2" presStyleCnt="14" custScaleX="133045" custScaleY="152685" custLinFactY="19953" custLinFactNeighborX="3459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00B55C8-272E-490B-AB5F-A5C6369E8C79}" type="pres">
      <dgm:prSet presAssocID="{9B931718-FC68-4B2E-9854-492BCFE6FE83}" presName="rootConnector" presStyleLbl="node3" presStyleIdx="2" presStyleCnt="14"/>
      <dgm:spPr/>
      <dgm:t>
        <a:bodyPr/>
        <a:lstStyle/>
        <a:p>
          <a:endParaRPr lang="en-US"/>
        </a:p>
      </dgm:t>
    </dgm:pt>
    <dgm:pt modelId="{18D6C1B6-F902-4ABE-BB60-086B907C1C3A}" type="pres">
      <dgm:prSet presAssocID="{9B931718-FC68-4B2E-9854-492BCFE6FE83}" presName="hierChild4" presStyleCnt="0"/>
      <dgm:spPr/>
    </dgm:pt>
    <dgm:pt modelId="{4E3F742A-A2F5-4971-A026-90DA3CFE956C}" type="pres">
      <dgm:prSet presAssocID="{9B931718-FC68-4B2E-9854-492BCFE6FE83}" presName="hierChild5" presStyleCnt="0"/>
      <dgm:spPr/>
    </dgm:pt>
    <dgm:pt modelId="{6262AD45-37CE-4E4E-81E1-98A75BFFED33}" type="pres">
      <dgm:prSet presAssocID="{EF032B47-594B-4FE2-82AA-11F85DCB3B05}" presName="Name37" presStyleLbl="parChTrans1D3" presStyleIdx="3" presStyleCnt="14"/>
      <dgm:spPr/>
      <dgm:t>
        <a:bodyPr/>
        <a:lstStyle/>
        <a:p>
          <a:endParaRPr lang="en-US"/>
        </a:p>
      </dgm:t>
    </dgm:pt>
    <dgm:pt modelId="{3BDA7C33-CC97-412E-A3EC-9F252E4F5A5A}" type="pres">
      <dgm:prSet presAssocID="{0B5A8C4E-0287-4775-89CD-4F33BAC9506F}" presName="hierRoot2" presStyleCnt="0">
        <dgm:presLayoutVars>
          <dgm:hierBranch val="init"/>
        </dgm:presLayoutVars>
      </dgm:prSet>
      <dgm:spPr/>
    </dgm:pt>
    <dgm:pt modelId="{2723E1CD-4CEE-4F07-87CD-20B12A8FC827}" type="pres">
      <dgm:prSet presAssocID="{0B5A8C4E-0287-4775-89CD-4F33BAC9506F}" presName="rootComposite" presStyleCnt="0"/>
      <dgm:spPr/>
    </dgm:pt>
    <dgm:pt modelId="{E8D3E92A-0794-4DFF-ADF5-83A9F9869BDA}" type="pres">
      <dgm:prSet presAssocID="{0B5A8C4E-0287-4775-89CD-4F33BAC9506F}" presName="rootText" presStyleLbl="node3" presStyleIdx="3" presStyleCnt="14" custScaleX="147937" custScaleY="123563" custLinFactY="23643" custLinFactNeighborX="19698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4F391C2-584B-4F01-9A6E-BB77AA2A997A}" type="pres">
      <dgm:prSet presAssocID="{0B5A8C4E-0287-4775-89CD-4F33BAC9506F}" presName="rootConnector" presStyleLbl="node3" presStyleIdx="3" presStyleCnt="14"/>
      <dgm:spPr/>
      <dgm:t>
        <a:bodyPr/>
        <a:lstStyle/>
        <a:p>
          <a:endParaRPr lang="en-US"/>
        </a:p>
      </dgm:t>
    </dgm:pt>
    <dgm:pt modelId="{B2E11ABB-6C93-42E1-91A1-DB542954BA14}" type="pres">
      <dgm:prSet presAssocID="{0B5A8C4E-0287-4775-89CD-4F33BAC9506F}" presName="hierChild4" presStyleCnt="0"/>
      <dgm:spPr/>
    </dgm:pt>
    <dgm:pt modelId="{7916A290-6350-41CF-9D02-42ED9408F54E}" type="pres">
      <dgm:prSet presAssocID="{0B5A8C4E-0287-4775-89CD-4F33BAC9506F}" presName="hierChild5" presStyleCnt="0"/>
      <dgm:spPr/>
    </dgm:pt>
    <dgm:pt modelId="{82355405-192E-42E7-B905-7A6FE845C6D9}" type="pres">
      <dgm:prSet presAssocID="{843E3B21-DC9F-4CF8-A7F1-93BF704E47A7}" presName="hierChild5" presStyleCnt="0"/>
      <dgm:spPr/>
    </dgm:pt>
    <dgm:pt modelId="{96956835-3386-449C-A89B-65F7C680246D}" type="pres">
      <dgm:prSet presAssocID="{65D088B7-B36E-49AA-84B9-2BC51B326EA1}" presName="Name37" presStyleLbl="parChTrans1D2" presStyleIdx="1" presStyleCnt="4"/>
      <dgm:spPr/>
      <dgm:t>
        <a:bodyPr/>
        <a:lstStyle/>
        <a:p>
          <a:endParaRPr lang="en-US"/>
        </a:p>
      </dgm:t>
    </dgm:pt>
    <dgm:pt modelId="{DBD72DFC-EF80-4973-B6E5-D3C9AB052F9E}" type="pres">
      <dgm:prSet presAssocID="{E420C67E-C4C2-476B-9B47-FFB47D587009}" presName="hierRoot2" presStyleCnt="0">
        <dgm:presLayoutVars>
          <dgm:hierBranch val="init"/>
        </dgm:presLayoutVars>
      </dgm:prSet>
      <dgm:spPr/>
    </dgm:pt>
    <dgm:pt modelId="{72B31F8C-4060-4D82-8D0A-8A332812C464}" type="pres">
      <dgm:prSet presAssocID="{E420C67E-C4C2-476B-9B47-FFB47D587009}" presName="rootComposite" presStyleCnt="0"/>
      <dgm:spPr/>
    </dgm:pt>
    <dgm:pt modelId="{F0ED6141-24DB-4164-A2D4-B51E750525CD}" type="pres">
      <dgm:prSet presAssocID="{E420C67E-C4C2-476B-9B47-FFB47D587009}" presName="rootText" presStyleLbl="node2" presStyleIdx="1" presStyleCnt="4" custLinFactNeighborX="65595" custLinFactNeighborY="2929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5256018-C335-4CDB-9EC5-7AE2ABAC1E00}" type="pres">
      <dgm:prSet presAssocID="{E420C67E-C4C2-476B-9B47-FFB47D587009}" presName="rootConnector" presStyleLbl="node2" presStyleIdx="1" presStyleCnt="4"/>
      <dgm:spPr/>
      <dgm:t>
        <a:bodyPr/>
        <a:lstStyle/>
        <a:p>
          <a:endParaRPr lang="en-US"/>
        </a:p>
      </dgm:t>
    </dgm:pt>
    <dgm:pt modelId="{2A7D3334-4741-4667-BCDB-1A78491B4FD4}" type="pres">
      <dgm:prSet presAssocID="{E420C67E-C4C2-476B-9B47-FFB47D587009}" presName="hierChild4" presStyleCnt="0"/>
      <dgm:spPr/>
    </dgm:pt>
    <dgm:pt modelId="{CC07306D-4BD7-4477-BB61-A954489058D6}" type="pres">
      <dgm:prSet presAssocID="{C3334397-F4C9-43FD-9DE7-786437A51BF8}" presName="Name37" presStyleLbl="parChTrans1D3" presStyleIdx="4" presStyleCnt="14"/>
      <dgm:spPr/>
      <dgm:t>
        <a:bodyPr/>
        <a:lstStyle/>
        <a:p>
          <a:endParaRPr lang="en-US"/>
        </a:p>
      </dgm:t>
    </dgm:pt>
    <dgm:pt modelId="{0ECB6EE9-64D7-46FB-8A0A-B83CD370F0B4}" type="pres">
      <dgm:prSet presAssocID="{0216D3CF-84E5-4443-8082-6C6C297E9A4D}" presName="hierRoot2" presStyleCnt="0">
        <dgm:presLayoutVars>
          <dgm:hierBranch val="init"/>
        </dgm:presLayoutVars>
      </dgm:prSet>
      <dgm:spPr/>
    </dgm:pt>
    <dgm:pt modelId="{9D96850F-E3A0-4435-B942-5F48B18AC5F4}" type="pres">
      <dgm:prSet presAssocID="{0216D3CF-84E5-4443-8082-6C6C297E9A4D}" presName="rootComposite" presStyleCnt="0"/>
      <dgm:spPr/>
    </dgm:pt>
    <dgm:pt modelId="{CBCDE87F-FA6C-44B8-A9C2-1E747BE7F736}" type="pres">
      <dgm:prSet presAssocID="{0216D3CF-84E5-4443-8082-6C6C297E9A4D}" presName="rootText" presStyleLbl="node3" presStyleIdx="4" presStyleCnt="14" custScaleX="130737" custLinFactY="2590" custLinFactNeighborX="60785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F9F174C-7D69-49F6-A7FE-7ED9990EB82A}" type="pres">
      <dgm:prSet presAssocID="{0216D3CF-84E5-4443-8082-6C6C297E9A4D}" presName="rootConnector" presStyleLbl="node3" presStyleIdx="4" presStyleCnt="14"/>
      <dgm:spPr/>
      <dgm:t>
        <a:bodyPr/>
        <a:lstStyle/>
        <a:p>
          <a:endParaRPr lang="en-US"/>
        </a:p>
      </dgm:t>
    </dgm:pt>
    <dgm:pt modelId="{1934090D-CBAE-4AB8-9BE7-C9762145998D}" type="pres">
      <dgm:prSet presAssocID="{0216D3CF-84E5-4443-8082-6C6C297E9A4D}" presName="hierChild4" presStyleCnt="0"/>
      <dgm:spPr/>
    </dgm:pt>
    <dgm:pt modelId="{7BCCCAFF-8404-460B-9A5A-B8BF91057993}" type="pres">
      <dgm:prSet presAssocID="{0216D3CF-84E5-4443-8082-6C6C297E9A4D}" presName="hierChild5" presStyleCnt="0"/>
      <dgm:spPr/>
    </dgm:pt>
    <dgm:pt modelId="{FE10A4AF-D8A8-4F2D-9661-56E5DBB5B2C5}" type="pres">
      <dgm:prSet presAssocID="{62301F5E-BDD5-4369-B9CF-5999FECA1C85}" presName="Name37" presStyleLbl="parChTrans1D3" presStyleIdx="5" presStyleCnt="14"/>
      <dgm:spPr/>
      <dgm:t>
        <a:bodyPr/>
        <a:lstStyle/>
        <a:p>
          <a:endParaRPr lang="en-US"/>
        </a:p>
      </dgm:t>
    </dgm:pt>
    <dgm:pt modelId="{6E36B90A-357D-4409-934D-6F40EC568AE0}" type="pres">
      <dgm:prSet presAssocID="{90833815-F732-45AF-B735-7A208BE16A8A}" presName="hierRoot2" presStyleCnt="0">
        <dgm:presLayoutVars>
          <dgm:hierBranch val="init"/>
        </dgm:presLayoutVars>
      </dgm:prSet>
      <dgm:spPr/>
    </dgm:pt>
    <dgm:pt modelId="{AB55976F-0A75-48BF-8621-9232364F260E}" type="pres">
      <dgm:prSet presAssocID="{90833815-F732-45AF-B735-7A208BE16A8A}" presName="rootComposite" presStyleCnt="0"/>
      <dgm:spPr/>
    </dgm:pt>
    <dgm:pt modelId="{5D0F02D1-4A23-4B53-AF4F-3529BE69829E}" type="pres">
      <dgm:prSet presAssocID="{90833815-F732-45AF-B735-7A208BE16A8A}" presName="rootText" presStyleLbl="node3" presStyleIdx="5" presStyleCnt="14" custScaleX="173065" custScaleY="132413" custLinFactNeighborX="60785" custLinFactNeighborY="7638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FF15CAA-9BF1-4437-B877-2B6831555847}" type="pres">
      <dgm:prSet presAssocID="{90833815-F732-45AF-B735-7A208BE16A8A}" presName="rootConnector" presStyleLbl="node3" presStyleIdx="5" presStyleCnt="14"/>
      <dgm:spPr/>
      <dgm:t>
        <a:bodyPr/>
        <a:lstStyle/>
        <a:p>
          <a:endParaRPr lang="en-US"/>
        </a:p>
      </dgm:t>
    </dgm:pt>
    <dgm:pt modelId="{8EE5665B-F21D-4DA6-A444-6C77DD3C6F95}" type="pres">
      <dgm:prSet presAssocID="{90833815-F732-45AF-B735-7A208BE16A8A}" presName="hierChild4" presStyleCnt="0"/>
      <dgm:spPr/>
    </dgm:pt>
    <dgm:pt modelId="{F1F43870-C4AC-4AF4-AB05-6A054FC06D63}" type="pres">
      <dgm:prSet presAssocID="{90833815-F732-45AF-B735-7A208BE16A8A}" presName="hierChild5" presStyleCnt="0"/>
      <dgm:spPr/>
    </dgm:pt>
    <dgm:pt modelId="{1D4D3FE4-1739-4B3C-ACD2-597D18FBC50F}" type="pres">
      <dgm:prSet presAssocID="{453F9760-1876-428B-8CB6-DA8F60516D89}" presName="Name37" presStyleLbl="parChTrans1D3" presStyleIdx="6" presStyleCnt="14"/>
      <dgm:spPr/>
      <dgm:t>
        <a:bodyPr/>
        <a:lstStyle/>
        <a:p>
          <a:endParaRPr lang="en-US"/>
        </a:p>
      </dgm:t>
    </dgm:pt>
    <dgm:pt modelId="{9115B6B6-EA79-4FE0-843B-D82CDE234246}" type="pres">
      <dgm:prSet presAssocID="{2F6572D1-3E4E-41CC-B816-15F6AA753750}" presName="hierRoot2" presStyleCnt="0">
        <dgm:presLayoutVars>
          <dgm:hierBranch val="init"/>
        </dgm:presLayoutVars>
      </dgm:prSet>
      <dgm:spPr/>
    </dgm:pt>
    <dgm:pt modelId="{B54B6D9A-0CB7-42FF-A0FD-F2137F2080D7}" type="pres">
      <dgm:prSet presAssocID="{2F6572D1-3E4E-41CC-B816-15F6AA753750}" presName="rootComposite" presStyleCnt="0"/>
      <dgm:spPr/>
    </dgm:pt>
    <dgm:pt modelId="{7BABB840-5689-4566-85C9-55C4A127C4C6}" type="pres">
      <dgm:prSet presAssocID="{2F6572D1-3E4E-41CC-B816-15F6AA753750}" presName="rootText" presStyleLbl="node3" presStyleIdx="6" presStyleCnt="14" custScaleX="151679" custLinFactNeighborX="60785" custLinFactNeighborY="7017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3C99CCA-0A47-4420-ABC8-53654C0C3796}" type="pres">
      <dgm:prSet presAssocID="{2F6572D1-3E4E-41CC-B816-15F6AA753750}" presName="rootConnector" presStyleLbl="node3" presStyleIdx="6" presStyleCnt="14"/>
      <dgm:spPr/>
      <dgm:t>
        <a:bodyPr/>
        <a:lstStyle/>
        <a:p>
          <a:endParaRPr lang="en-US"/>
        </a:p>
      </dgm:t>
    </dgm:pt>
    <dgm:pt modelId="{0D889D42-77FB-49A7-B6E8-3A8C670AFEAD}" type="pres">
      <dgm:prSet presAssocID="{2F6572D1-3E4E-41CC-B816-15F6AA753750}" presName="hierChild4" presStyleCnt="0"/>
      <dgm:spPr/>
    </dgm:pt>
    <dgm:pt modelId="{6BE4F57E-EC21-4523-B1EB-3AEDD24C4D44}" type="pres">
      <dgm:prSet presAssocID="{2F6572D1-3E4E-41CC-B816-15F6AA753750}" presName="hierChild5" presStyleCnt="0"/>
      <dgm:spPr/>
    </dgm:pt>
    <dgm:pt modelId="{3A94D9E8-C2A3-4765-9477-D710CC646957}" type="pres">
      <dgm:prSet presAssocID="{6C5C9B86-7AAA-465B-98FF-E3F38189A3AE}" presName="Name37" presStyleLbl="parChTrans1D3" presStyleIdx="7" presStyleCnt="14"/>
      <dgm:spPr/>
      <dgm:t>
        <a:bodyPr/>
        <a:lstStyle/>
        <a:p>
          <a:endParaRPr lang="en-US"/>
        </a:p>
      </dgm:t>
    </dgm:pt>
    <dgm:pt modelId="{2EAD44A1-134B-439B-87EC-257234921AE5}" type="pres">
      <dgm:prSet presAssocID="{CFEBB133-5D80-4E9D-815E-BA7E2B5804D2}" presName="hierRoot2" presStyleCnt="0">
        <dgm:presLayoutVars>
          <dgm:hierBranch val="init"/>
        </dgm:presLayoutVars>
      </dgm:prSet>
      <dgm:spPr/>
    </dgm:pt>
    <dgm:pt modelId="{2FB73BF3-3C5D-4AD3-9D1C-8A589100FCB7}" type="pres">
      <dgm:prSet presAssocID="{CFEBB133-5D80-4E9D-815E-BA7E2B5804D2}" presName="rootComposite" presStyleCnt="0"/>
      <dgm:spPr/>
    </dgm:pt>
    <dgm:pt modelId="{50D60845-A14B-4DD0-8DB4-8B07FEB31A21}" type="pres">
      <dgm:prSet presAssocID="{CFEBB133-5D80-4E9D-815E-BA7E2B5804D2}" presName="rootText" presStyleLbl="node3" presStyleIdx="7" presStyleCnt="14" custScaleX="163721" custLinFactNeighborX="60785" custLinFactNeighborY="7594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5C39B9-C17D-4782-B68D-D9F73AAEE095}" type="pres">
      <dgm:prSet presAssocID="{CFEBB133-5D80-4E9D-815E-BA7E2B5804D2}" presName="rootConnector" presStyleLbl="node3" presStyleIdx="7" presStyleCnt="14"/>
      <dgm:spPr/>
      <dgm:t>
        <a:bodyPr/>
        <a:lstStyle/>
        <a:p>
          <a:endParaRPr lang="en-US"/>
        </a:p>
      </dgm:t>
    </dgm:pt>
    <dgm:pt modelId="{FE161E8F-9C2C-4330-91D6-9E6A7C6F19FB}" type="pres">
      <dgm:prSet presAssocID="{CFEBB133-5D80-4E9D-815E-BA7E2B5804D2}" presName="hierChild4" presStyleCnt="0"/>
      <dgm:spPr/>
    </dgm:pt>
    <dgm:pt modelId="{DCFA5C64-38E4-453B-BB1F-AE8ADB7F8B50}" type="pres">
      <dgm:prSet presAssocID="{CFEBB133-5D80-4E9D-815E-BA7E2B5804D2}" presName="hierChild5" presStyleCnt="0"/>
      <dgm:spPr/>
    </dgm:pt>
    <dgm:pt modelId="{6240857E-8E92-4FD3-BB54-32F6C167CD09}" type="pres">
      <dgm:prSet presAssocID="{B8FD3D24-FF5C-481A-BFA0-ACCFF5DDB239}" presName="Name37" presStyleLbl="parChTrans1D3" presStyleIdx="8" presStyleCnt="14"/>
      <dgm:spPr/>
      <dgm:t>
        <a:bodyPr/>
        <a:lstStyle/>
        <a:p>
          <a:endParaRPr lang="en-US"/>
        </a:p>
      </dgm:t>
    </dgm:pt>
    <dgm:pt modelId="{15B9C00A-6A73-4158-81BD-1F7308096CC8}" type="pres">
      <dgm:prSet presAssocID="{52015A54-073D-4B92-8FF1-0F1F5FE1561A}" presName="hierRoot2" presStyleCnt="0">
        <dgm:presLayoutVars>
          <dgm:hierBranch val="init"/>
        </dgm:presLayoutVars>
      </dgm:prSet>
      <dgm:spPr/>
    </dgm:pt>
    <dgm:pt modelId="{0B45F736-1A0E-4A7B-A649-FBC58E1CBB7D}" type="pres">
      <dgm:prSet presAssocID="{52015A54-073D-4B92-8FF1-0F1F5FE1561A}" presName="rootComposite" presStyleCnt="0"/>
      <dgm:spPr/>
    </dgm:pt>
    <dgm:pt modelId="{BD1C35E1-9751-4DD4-B9AF-1CFE8C8B4E70}" type="pres">
      <dgm:prSet presAssocID="{52015A54-073D-4B92-8FF1-0F1F5FE1561A}" presName="rootText" presStyleLbl="node3" presStyleIdx="8" presStyleCnt="14" custScaleX="180918" custLinFactNeighborX="60785" custLinFactNeighborY="6801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9D97F7E-F6E2-4876-9CCF-33FF7FB7A306}" type="pres">
      <dgm:prSet presAssocID="{52015A54-073D-4B92-8FF1-0F1F5FE1561A}" presName="rootConnector" presStyleLbl="node3" presStyleIdx="8" presStyleCnt="14"/>
      <dgm:spPr/>
      <dgm:t>
        <a:bodyPr/>
        <a:lstStyle/>
        <a:p>
          <a:endParaRPr lang="en-US"/>
        </a:p>
      </dgm:t>
    </dgm:pt>
    <dgm:pt modelId="{29CC4417-FD35-462A-AB7F-4A305202200E}" type="pres">
      <dgm:prSet presAssocID="{52015A54-073D-4B92-8FF1-0F1F5FE1561A}" presName="hierChild4" presStyleCnt="0"/>
      <dgm:spPr/>
    </dgm:pt>
    <dgm:pt modelId="{9EF0C1A1-B522-4DAB-AD15-507C0F3FBD56}" type="pres">
      <dgm:prSet presAssocID="{52015A54-073D-4B92-8FF1-0F1F5FE1561A}" presName="hierChild5" presStyleCnt="0"/>
      <dgm:spPr/>
    </dgm:pt>
    <dgm:pt modelId="{1DBB8D6B-1EA9-448A-B87B-A162873E7B21}" type="pres">
      <dgm:prSet presAssocID="{E420C67E-C4C2-476B-9B47-FFB47D587009}" presName="hierChild5" presStyleCnt="0"/>
      <dgm:spPr/>
    </dgm:pt>
    <dgm:pt modelId="{C137CAE9-66E1-459B-A733-9B53B02E07AF}" type="pres">
      <dgm:prSet presAssocID="{6ED4E1AA-EFDD-4E70-836E-3DB36084DE98}" presName="Name37" presStyleLbl="parChTrans1D2" presStyleIdx="2" presStyleCnt="4"/>
      <dgm:spPr/>
      <dgm:t>
        <a:bodyPr/>
        <a:lstStyle/>
        <a:p>
          <a:endParaRPr lang="en-US"/>
        </a:p>
      </dgm:t>
    </dgm:pt>
    <dgm:pt modelId="{35CBA655-D40F-4A2B-B71A-711D392B5A84}" type="pres">
      <dgm:prSet presAssocID="{1CE2D78B-C788-472A-8424-7F9A4AB5205E}" presName="hierRoot2" presStyleCnt="0">
        <dgm:presLayoutVars>
          <dgm:hierBranch val="init"/>
        </dgm:presLayoutVars>
      </dgm:prSet>
      <dgm:spPr/>
    </dgm:pt>
    <dgm:pt modelId="{9DC86AED-B6DB-4100-9EA0-4E60FFB4A367}" type="pres">
      <dgm:prSet presAssocID="{1CE2D78B-C788-472A-8424-7F9A4AB5205E}" presName="rootComposite" presStyleCnt="0"/>
      <dgm:spPr/>
    </dgm:pt>
    <dgm:pt modelId="{A5F2589C-C16C-45F2-9A3D-F2A6CB2476D1}" type="pres">
      <dgm:prSet presAssocID="{1CE2D78B-C788-472A-8424-7F9A4AB5205E}" presName="rootText" presStyleLbl="node2" presStyleIdx="2" presStyleCnt="4" custScaleX="116568" custLinFactX="3180" custLinFactNeighborX="100000" custLinFactNeighborY="3464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7B6648-0B7F-4E1F-B6C5-CE0E2F04B9FF}" type="pres">
      <dgm:prSet presAssocID="{1CE2D78B-C788-472A-8424-7F9A4AB5205E}" presName="rootConnector" presStyleLbl="node2" presStyleIdx="2" presStyleCnt="4"/>
      <dgm:spPr/>
      <dgm:t>
        <a:bodyPr/>
        <a:lstStyle/>
        <a:p>
          <a:endParaRPr lang="en-US"/>
        </a:p>
      </dgm:t>
    </dgm:pt>
    <dgm:pt modelId="{29CE8073-D253-4588-B954-7167D33B1947}" type="pres">
      <dgm:prSet presAssocID="{1CE2D78B-C788-472A-8424-7F9A4AB5205E}" presName="hierChild4" presStyleCnt="0"/>
      <dgm:spPr/>
    </dgm:pt>
    <dgm:pt modelId="{AEDC7120-FE6F-49D8-95F2-AB1B2B6AC9A8}" type="pres">
      <dgm:prSet presAssocID="{F0BD47AB-7AC9-40A2-A96D-1A911EFDE7FF}" presName="Name37" presStyleLbl="parChTrans1D3" presStyleIdx="9" presStyleCnt="14"/>
      <dgm:spPr/>
      <dgm:t>
        <a:bodyPr/>
        <a:lstStyle/>
        <a:p>
          <a:endParaRPr lang="en-US"/>
        </a:p>
      </dgm:t>
    </dgm:pt>
    <dgm:pt modelId="{F65159AB-B6AE-4C58-BE85-DB4966F15FBA}" type="pres">
      <dgm:prSet presAssocID="{A240A1E1-162D-4A6E-A806-B6FF45B3AB68}" presName="hierRoot2" presStyleCnt="0">
        <dgm:presLayoutVars>
          <dgm:hierBranch val="init"/>
        </dgm:presLayoutVars>
      </dgm:prSet>
      <dgm:spPr/>
    </dgm:pt>
    <dgm:pt modelId="{4413A7CD-B07B-4481-95F7-63264BEB8326}" type="pres">
      <dgm:prSet presAssocID="{A240A1E1-162D-4A6E-A806-B6FF45B3AB68}" presName="rootComposite" presStyleCnt="0"/>
      <dgm:spPr/>
    </dgm:pt>
    <dgm:pt modelId="{6E033C69-6BA8-4812-AE4E-0022A986E944}" type="pres">
      <dgm:prSet presAssocID="{A240A1E1-162D-4A6E-A806-B6FF45B3AB68}" presName="rootText" presStyleLbl="node3" presStyleIdx="9" presStyleCnt="14" custLinFactX="16434" custLinFactY="20254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C564F4-BF5C-4321-B86B-65391CEDEFC7}" type="pres">
      <dgm:prSet presAssocID="{A240A1E1-162D-4A6E-A806-B6FF45B3AB68}" presName="rootConnector" presStyleLbl="node3" presStyleIdx="9" presStyleCnt="14"/>
      <dgm:spPr/>
      <dgm:t>
        <a:bodyPr/>
        <a:lstStyle/>
        <a:p>
          <a:endParaRPr lang="en-US"/>
        </a:p>
      </dgm:t>
    </dgm:pt>
    <dgm:pt modelId="{7C0A51FE-5187-4FBA-A9F6-DFFAA1B3DD3E}" type="pres">
      <dgm:prSet presAssocID="{A240A1E1-162D-4A6E-A806-B6FF45B3AB68}" presName="hierChild4" presStyleCnt="0"/>
      <dgm:spPr/>
    </dgm:pt>
    <dgm:pt modelId="{A5F1F6CB-B812-4FEA-ACD0-E838992C8274}" type="pres">
      <dgm:prSet presAssocID="{A240A1E1-162D-4A6E-A806-B6FF45B3AB68}" presName="hierChild5" presStyleCnt="0"/>
      <dgm:spPr/>
    </dgm:pt>
    <dgm:pt modelId="{28E82B1A-B1F2-4CC5-9B64-B60015CBF624}" type="pres">
      <dgm:prSet presAssocID="{A60BCA66-49BB-4275-9110-8B471B3FC59B}" presName="Name37" presStyleLbl="parChTrans1D3" presStyleIdx="10" presStyleCnt="14"/>
      <dgm:spPr/>
      <dgm:t>
        <a:bodyPr/>
        <a:lstStyle/>
        <a:p>
          <a:endParaRPr lang="en-US"/>
        </a:p>
      </dgm:t>
    </dgm:pt>
    <dgm:pt modelId="{B22DAA2B-22C5-4EFA-A0A6-9AD0235D2103}" type="pres">
      <dgm:prSet presAssocID="{35016019-1F0E-47A9-A9CB-AE98C0AFCFC1}" presName="hierRoot2" presStyleCnt="0">
        <dgm:presLayoutVars>
          <dgm:hierBranch val="init"/>
        </dgm:presLayoutVars>
      </dgm:prSet>
      <dgm:spPr/>
    </dgm:pt>
    <dgm:pt modelId="{514CA667-AA27-4D37-9311-1D5D85EF643D}" type="pres">
      <dgm:prSet presAssocID="{35016019-1F0E-47A9-A9CB-AE98C0AFCFC1}" presName="rootComposite" presStyleCnt="0"/>
      <dgm:spPr/>
    </dgm:pt>
    <dgm:pt modelId="{428A54D9-43F6-47B6-B3A2-FDCE09CB5A97}" type="pres">
      <dgm:prSet presAssocID="{35016019-1F0E-47A9-A9CB-AE98C0AFCFC1}" presName="rootText" presStyleLbl="node3" presStyleIdx="10" presStyleCnt="14" custLinFactX="16434" custLinFactY="20254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1DAB6FE-4097-4695-9397-7DCCE262634B}" type="pres">
      <dgm:prSet presAssocID="{35016019-1F0E-47A9-A9CB-AE98C0AFCFC1}" presName="rootConnector" presStyleLbl="node3" presStyleIdx="10" presStyleCnt="14"/>
      <dgm:spPr/>
      <dgm:t>
        <a:bodyPr/>
        <a:lstStyle/>
        <a:p>
          <a:endParaRPr lang="en-US"/>
        </a:p>
      </dgm:t>
    </dgm:pt>
    <dgm:pt modelId="{F4CC167B-F2F2-455C-9A45-823F18AFEF9A}" type="pres">
      <dgm:prSet presAssocID="{35016019-1F0E-47A9-A9CB-AE98C0AFCFC1}" presName="hierChild4" presStyleCnt="0"/>
      <dgm:spPr/>
    </dgm:pt>
    <dgm:pt modelId="{A5D0575B-48E0-4A98-88E8-8B4961A6F762}" type="pres">
      <dgm:prSet presAssocID="{35016019-1F0E-47A9-A9CB-AE98C0AFCFC1}" presName="hierChild5" presStyleCnt="0"/>
      <dgm:spPr/>
    </dgm:pt>
    <dgm:pt modelId="{11628582-088E-42FA-B6EC-953F652565B0}" type="pres">
      <dgm:prSet presAssocID="{9275B05E-F520-4192-9B33-84AEEBC3F62D}" presName="Name37" presStyleLbl="parChTrans1D3" presStyleIdx="11" presStyleCnt="14"/>
      <dgm:spPr/>
      <dgm:t>
        <a:bodyPr/>
        <a:lstStyle/>
        <a:p>
          <a:endParaRPr lang="en-US"/>
        </a:p>
      </dgm:t>
    </dgm:pt>
    <dgm:pt modelId="{7E6CA653-D7FD-4B20-AE44-C1F44E30C01B}" type="pres">
      <dgm:prSet presAssocID="{49742260-F14F-4BCB-8D88-ADD2EB5024EC}" presName="hierRoot2" presStyleCnt="0">
        <dgm:presLayoutVars>
          <dgm:hierBranch val="init"/>
        </dgm:presLayoutVars>
      </dgm:prSet>
      <dgm:spPr/>
    </dgm:pt>
    <dgm:pt modelId="{E179F35A-A640-480A-9C40-3D39813B5DA3}" type="pres">
      <dgm:prSet presAssocID="{49742260-F14F-4BCB-8D88-ADD2EB5024EC}" presName="rootComposite" presStyleCnt="0"/>
      <dgm:spPr/>
    </dgm:pt>
    <dgm:pt modelId="{93507A0E-B606-4F7A-9C01-283769128FF2}" type="pres">
      <dgm:prSet presAssocID="{49742260-F14F-4BCB-8D88-ADD2EB5024EC}" presName="rootText" presStyleLbl="node3" presStyleIdx="11" presStyleCnt="14" custLinFactX="16434" custLinFactY="20254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A7ED8CE-14CF-4D38-BE63-D19E93618025}" type="pres">
      <dgm:prSet presAssocID="{49742260-F14F-4BCB-8D88-ADD2EB5024EC}" presName="rootConnector" presStyleLbl="node3" presStyleIdx="11" presStyleCnt="14"/>
      <dgm:spPr/>
      <dgm:t>
        <a:bodyPr/>
        <a:lstStyle/>
        <a:p>
          <a:endParaRPr lang="en-US"/>
        </a:p>
      </dgm:t>
    </dgm:pt>
    <dgm:pt modelId="{D06BFE77-47E2-4E99-9240-F26F88BFBEAB}" type="pres">
      <dgm:prSet presAssocID="{49742260-F14F-4BCB-8D88-ADD2EB5024EC}" presName="hierChild4" presStyleCnt="0"/>
      <dgm:spPr/>
    </dgm:pt>
    <dgm:pt modelId="{801CA00E-B2B0-4EC5-9889-E9E28C332373}" type="pres">
      <dgm:prSet presAssocID="{49742260-F14F-4BCB-8D88-ADD2EB5024EC}" presName="hierChild5" presStyleCnt="0"/>
      <dgm:spPr/>
    </dgm:pt>
    <dgm:pt modelId="{528156B2-647C-44D5-ABAD-EBDCDF85B348}" type="pres">
      <dgm:prSet presAssocID="{1CE2D78B-C788-472A-8424-7F9A4AB5205E}" presName="hierChild5" presStyleCnt="0"/>
      <dgm:spPr/>
    </dgm:pt>
    <dgm:pt modelId="{B562ECC0-9994-4B01-9E77-D5C13C496118}" type="pres">
      <dgm:prSet presAssocID="{54165FB5-F7A3-4BBF-B199-2BE2BA410DE8}" presName="Name37" presStyleLbl="parChTrans1D2" presStyleIdx="3" presStyleCnt="4"/>
      <dgm:spPr/>
      <dgm:t>
        <a:bodyPr/>
        <a:lstStyle/>
        <a:p>
          <a:endParaRPr lang="en-US"/>
        </a:p>
      </dgm:t>
    </dgm:pt>
    <dgm:pt modelId="{E18799E9-9DA7-423F-B7B3-369EFE76B3B6}" type="pres">
      <dgm:prSet presAssocID="{C35FC96E-9015-4790-BDC3-6E0D4D502FCB}" presName="hierRoot2" presStyleCnt="0">
        <dgm:presLayoutVars>
          <dgm:hierBranch val="init"/>
        </dgm:presLayoutVars>
      </dgm:prSet>
      <dgm:spPr/>
    </dgm:pt>
    <dgm:pt modelId="{354F8417-6C70-4131-8450-E52EDD2EFA17}" type="pres">
      <dgm:prSet presAssocID="{C35FC96E-9015-4790-BDC3-6E0D4D502FCB}" presName="rootComposite" presStyleCnt="0"/>
      <dgm:spPr/>
    </dgm:pt>
    <dgm:pt modelId="{67A44139-B3F0-4118-89E8-A44A0D503C36}" type="pres">
      <dgm:prSet presAssocID="{C35FC96E-9015-4790-BDC3-6E0D4D502FCB}" presName="rootText" presStyleLbl="node2" presStyleIdx="3" presStyleCnt="4" custLinFactNeighborX="53438" custLinFactNeighborY="2985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2267437-59D9-4F70-9854-AF295901641A}" type="pres">
      <dgm:prSet presAssocID="{C35FC96E-9015-4790-BDC3-6E0D4D502FCB}" presName="rootConnector" presStyleLbl="node2" presStyleIdx="3" presStyleCnt="4"/>
      <dgm:spPr/>
      <dgm:t>
        <a:bodyPr/>
        <a:lstStyle/>
        <a:p>
          <a:endParaRPr lang="en-US"/>
        </a:p>
      </dgm:t>
    </dgm:pt>
    <dgm:pt modelId="{A6AF8EE9-DBFC-447B-8940-E76A065FD97B}" type="pres">
      <dgm:prSet presAssocID="{C35FC96E-9015-4790-BDC3-6E0D4D502FCB}" presName="hierChild4" presStyleCnt="0"/>
      <dgm:spPr/>
    </dgm:pt>
    <dgm:pt modelId="{2BC6CEE4-3F67-4FA6-8639-65EC4CCFF4D9}" type="pres">
      <dgm:prSet presAssocID="{4E25AF54-5C18-4905-8913-7D1EA2AC6905}" presName="Name37" presStyleLbl="parChTrans1D3" presStyleIdx="12" presStyleCnt="14"/>
      <dgm:spPr/>
      <dgm:t>
        <a:bodyPr/>
        <a:lstStyle/>
        <a:p>
          <a:endParaRPr lang="en-US"/>
        </a:p>
      </dgm:t>
    </dgm:pt>
    <dgm:pt modelId="{56EAD692-CF12-4F08-9E91-48B2A708FB71}" type="pres">
      <dgm:prSet presAssocID="{AFCA2418-8D6B-4E9C-BE52-FC74C908050F}" presName="hierRoot2" presStyleCnt="0">
        <dgm:presLayoutVars>
          <dgm:hierBranch val="init"/>
        </dgm:presLayoutVars>
      </dgm:prSet>
      <dgm:spPr/>
    </dgm:pt>
    <dgm:pt modelId="{17485795-B1F1-44AB-A6F9-533EF86E010F}" type="pres">
      <dgm:prSet presAssocID="{AFCA2418-8D6B-4E9C-BE52-FC74C908050F}" presName="rootComposite" presStyleCnt="0"/>
      <dgm:spPr/>
    </dgm:pt>
    <dgm:pt modelId="{1B4F947A-69EB-46FF-A1EA-7664283D213E}" type="pres">
      <dgm:prSet presAssocID="{AFCA2418-8D6B-4E9C-BE52-FC74C908050F}" presName="rootText" presStyleLbl="node3" presStyleIdx="12" presStyleCnt="14" custScaleX="167040" custScaleY="138944" custLinFactX="100000" custLinFactY="47441" custLinFactNeighborX="145609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553D0C6-AEE4-4F65-8DAC-62449D94D6A7}" type="pres">
      <dgm:prSet presAssocID="{AFCA2418-8D6B-4E9C-BE52-FC74C908050F}" presName="rootConnector" presStyleLbl="node3" presStyleIdx="12" presStyleCnt="14"/>
      <dgm:spPr/>
      <dgm:t>
        <a:bodyPr/>
        <a:lstStyle/>
        <a:p>
          <a:endParaRPr lang="en-US"/>
        </a:p>
      </dgm:t>
    </dgm:pt>
    <dgm:pt modelId="{704B6FE3-1A93-464C-BD7D-26786EA03069}" type="pres">
      <dgm:prSet presAssocID="{AFCA2418-8D6B-4E9C-BE52-FC74C908050F}" presName="hierChild4" presStyleCnt="0"/>
      <dgm:spPr/>
    </dgm:pt>
    <dgm:pt modelId="{DA9CB0A7-0D84-4FCC-8CAA-C663566F179D}" type="pres">
      <dgm:prSet presAssocID="{AFCA2418-8D6B-4E9C-BE52-FC74C908050F}" presName="hierChild5" presStyleCnt="0"/>
      <dgm:spPr/>
    </dgm:pt>
    <dgm:pt modelId="{981682D2-6375-4500-994F-C7CC83594561}" type="pres">
      <dgm:prSet presAssocID="{645C00E4-762B-4277-AD48-4328B4AF7430}" presName="Name37" presStyleLbl="parChTrans1D3" presStyleIdx="13" presStyleCnt="14"/>
      <dgm:spPr/>
      <dgm:t>
        <a:bodyPr/>
        <a:lstStyle/>
        <a:p>
          <a:endParaRPr lang="en-US"/>
        </a:p>
      </dgm:t>
    </dgm:pt>
    <dgm:pt modelId="{5AD24796-DC78-4C67-B9F3-06DC4CB79087}" type="pres">
      <dgm:prSet presAssocID="{C6E107C8-C87F-4E03-9C51-3B0FC309122B}" presName="hierRoot2" presStyleCnt="0">
        <dgm:presLayoutVars>
          <dgm:hierBranch val="init"/>
        </dgm:presLayoutVars>
      </dgm:prSet>
      <dgm:spPr/>
    </dgm:pt>
    <dgm:pt modelId="{0E2F19BE-3966-4520-8470-5F47706807ED}" type="pres">
      <dgm:prSet presAssocID="{C6E107C8-C87F-4E03-9C51-3B0FC309122B}" presName="rootComposite" presStyleCnt="0"/>
      <dgm:spPr/>
    </dgm:pt>
    <dgm:pt modelId="{78B1DB83-1FBB-4B72-AADA-6CBB1DAEF356}" type="pres">
      <dgm:prSet presAssocID="{C6E107C8-C87F-4E03-9C51-3B0FC309122B}" presName="rootText" presStyleLbl="node3" presStyleIdx="13" presStyleCnt="14" custScaleX="182665" custLinFactY="153975" custLinFactNeighborX="-26776" custLinFactNeighborY="2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B23809A-293F-4A54-B283-6C2D984F118D}" type="pres">
      <dgm:prSet presAssocID="{C6E107C8-C87F-4E03-9C51-3B0FC309122B}" presName="rootConnector" presStyleLbl="node3" presStyleIdx="13" presStyleCnt="14"/>
      <dgm:spPr/>
      <dgm:t>
        <a:bodyPr/>
        <a:lstStyle/>
        <a:p>
          <a:endParaRPr lang="en-US"/>
        </a:p>
      </dgm:t>
    </dgm:pt>
    <dgm:pt modelId="{9F248D76-C2BC-4060-8C04-B530C444F409}" type="pres">
      <dgm:prSet presAssocID="{C6E107C8-C87F-4E03-9C51-3B0FC309122B}" presName="hierChild4" presStyleCnt="0"/>
      <dgm:spPr/>
    </dgm:pt>
    <dgm:pt modelId="{AD70828E-DDD4-480C-BDFF-1E596F6615D1}" type="pres">
      <dgm:prSet presAssocID="{28774598-E592-4921-B255-0225EB6D096E}" presName="Name37" presStyleLbl="parChTrans1D4" presStyleIdx="0" presStyleCnt="1"/>
      <dgm:spPr/>
      <dgm:t>
        <a:bodyPr/>
        <a:lstStyle/>
        <a:p>
          <a:endParaRPr lang="en-US"/>
        </a:p>
      </dgm:t>
    </dgm:pt>
    <dgm:pt modelId="{147EF30B-BA3D-4473-9AD2-CC7014F27C11}" type="pres">
      <dgm:prSet presAssocID="{09967023-FD4B-4E34-A1C9-A393B75E32BA}" presName="hierRoot2" presStyleCnt="0">
        <dgm:presLayoutVars>
          <dgm:hierBranch val="init"/>
        </dgm:presLayoutVars>
      </dgm:prSet>
      <dgm:spPr/>
    </dgm:pt>
    <dgm:pt modelId="{77306BB1-6CDB-40C5-85B1-4980890A9206}" type="pres">
      <dgm:prSet presAssocID="{09967023-FD4B-4E34-A1C9-A393B75E32BA}" presName="rootComposite" presStyleCnt="0"/>
      <dgm:spPr/>
    </dgm:pt>
    <dgm:pt modelId="{43C79B55-7800-4403-B3B4-49E5363FFF1E}" type="pres">
      <dgm:prSet presAssocID="{09967023-FD4B-4E34-A1C9-A393B75E32BA}" presName="rootText" presStyleLbl="node4" presStyleIdx="0" presStyleCnt="1" custScaleX="178849" custScaleY="100000" custLinFactY="200000" custLinFactNeighborX="-36429" custLinFactNeighborY="21923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D009694-C9A9-4545-B9B4-AE343C4C6314}" type="pres">
      <dgm:prSet presAssocID="{09967023-FD4B-4E34-A1C9-A393B75E32BA}" presName="rootConnector" presStyleLbl="node4" presStyleIdx="0" presStyleCnt="1"/>
      <dgm:spPr/>
      <dgm:t>
        <a:bodyPr/>
        <a:lstStyle/>
        <a:p>
          <a:endParaRPr lang="en-US"/>
        </a:p>
      </dgm:t>
    </dgm:pt>
    <dgm:pt modelId="{E7CAB4B1-64D6-4507-9B2D-46604CB6848C}" type="pres">
      <dgm:prSet presAssocID="{09967023-FD4B-4E34-A1C9-A393B75E32BA}" presName="hierChild4" presStyleCnt="0"/>
      <dgm:spPr/>
    </dgm:pt>
    <dgm:pt modelId="{283463B1-15A6-4BEF-B96E-DE2502D9F6DF}" type="pres">
      <dgm:prSet presAssocID="{09967023-FD4B-4E34-A1C9-A393B75E32BA}" presName="hierChild5" presStyleCnt="0"/>
      <dgm:spPr/>
    </dgm:pt>
    <dgm:pt modelId="{6105CD00-5C50-452A-994E-5B0FFFC4DA91}" type="pres">
      <dgm:prSet presAssocID="{C6E107C8-C87F-4E03-9C51-3B0FC309122B}" presName="hierChild5" presStyleCnt="0"/>
      <dgm:spPr/>
    </dgm:pt>
    <dgm:pt modelId="{430C728D-004C-49FD-A0C1-71CD6E772786}" type="pres">
      <dgm:prSet presAssocID="{C35FC96E-9015-4790-BDC3-6E0D4D502FCB}" presName="hierChild5" presStyleCnt="0"/>
      <dgm:spPr/>
    </dgm:pt>
    <dgm:pt modelId="{B87F60ED-85BE-4872-BA6E-CDCB9CBDC6A3}" type="pres">
      <dgm:prSet presAssocID="{43BDC9E6-B3ED-4E11-B81F-A36F96CA06AD}" presName="hierChild3" presStyleCnt="0"/>
      <dgm:spPr/>
    </dgm:pt>
  </dgm:ptLst>
  <dgm:cxnLst>
    <dgm:cxn modelId="{06E71150-3811-4FC5-8858-0203DD6C998E}" srcId="{E420C67E-C4C2-476B-9B47-FFB47D587009}" destId="{2F6572D1-3E4E-41CC-B816-15F6AA753750}" srcOrd="2" destOrd="0" parTransId="{453F9760-1876-428B-8CB6-DA8F60516D89}" sibTransId="{F36BC338-6ADD-4D27-8F50-A2943AF092AF}"/>
    <dgm:cxn modelId="{AF611182-AAE8-4190-BE35-A2473E50306B}" srcId="{C35FC96E-9015-4790-BDC3-6E0D4D502FCB}" destId="{C6E107C8-C87F-4E03-9C51-3B0FC309122B}" srcOrd="1" destOrd="0" parTransId="{645C00E4-762B-4277-AD48-4328B4AF7430}" sibTransId="{E622C44F-BC5B-49E7-9D58-720E5F6040E1}"/>
    <dgm:cxn modelId="{1FB26A5A-8353-4DB8-A45E-9AC9871266F1}" type="presOf" srcId="{843E3B21-DC9F-4CF8-A7F1-93BF704E47A7}" destId="{5E5C4910-D5C2-4117-9825-0F4E2308A1D4}" srcOrd="0" destOrd="0" presId="urn:microsoft.com/office/officeart/2005/8/layout/orgChart1"/>
    <dgm:cxn modelId="{2648CEB6-4DB9-42A6-B700-4831395E15AC}" srcId="{843E3B21-DC9F-4CF8-A7F1-93BF704E47A7}" destId="{7D7C3FA2-CE75-4B7D-A218-416906B8D917}" srcOrd="1" destOrd="0" parTransId="{14236E25-24F5-4DBC-8E23-FED5A30DEF0E}" sibTransId="{FB40D391-DB77-4C2C-BDCE-7A207CEAE6FE}"/>
    <dgm:cxn modelId="{BF0DC91D-EC32-48A1-86C8-FAB69550103E}" srcId="{843E3B21-DC9F-4CF8-A7F1-93BF704E47A7}" destId="{0B5A8C4E-0287-4775-89CD-4F33BAC9506F}" srcOrd="3" destOrd="0" parTransId="{EF032B47-594B-4FE2-82AA-11F85DCB3B05}" sibTransId="{54EDCA25-2AA2-4C65-8635-EE0E2A7EF78B}"/>
    <dgm:cxn modelId="{E069195F-0681-46D7-9D10-ADF5CDC9308B}" type="presOf" srcId="{A26E1133-27F8-42A1-91FE-23383B9ACC99}" destId="{E9F5810C-05C5-4937-8779-609DD6BD5CFD}" srcOrd="0" destOrd="0" presId="urn:microsoft.com/office/officeart/2005/8/layout/orgChart1"/>
    <dgm:cxn modelId="{2CA3DB62-4059-4834-8030-BA1DF3B9A0F7}" type="presOf" srcId="{90833815-F732-45AF-B735-7A208BE16A8A}" destId="{5D0F02D1-4A23-4B53-AF4F-3529BE69829E}" srcOrd="0" destOrd="0" presId="urn:microsoft.com/office/officeart/2005/8/layout/orgChart1"/>
    <dgm:cxn modelId="{EF17C288-FABF-470A-9F6E-6F1AC60C08BE}" srcId="{E420C67E-C4C2-476B-9B47-FFB47D587009}" destId="{0216D3CF-84E5-4443-8082-6C6C297E9A4D}" srcOrd="0" destOrd="0" parTransId="{C3334397-F4C9-43FD-9DE7-786437A51BF8}" sibTransId="{9C27E3D0-AEBB-4C4C-AFEA-8F9AF608B21E}"/>
    <dgm:cxn modelId="{F25AC34A-A035-49C5-A57E-628E428A0BD9}" type="presOf" srcId="{35016019-1F0E-47A9-A9CB-AE98C0AFCFC1}" destId="{31DAB6FE-4097-4695-9397-7DCCE262634B}" srcOrd="1" destOrd="0" presId="urn:microsoft.com/office/officeart/2005/8/layout/orgChart1"/>
    <dgm:cxn modelId="{6676558B-C123-4676-8163-64EC8835FA16}" type="presOf" srcId="{43BDC9E6-B3ED-4E11-B81F-A36F96CA06AD}" destId="{6EF86BC6-06CE-4768-9942-F4420543D5EE}" srcOrd="1" destOrd="0" presId="urn:microsoft.com/office/officeart/2005/8/layout/orgChart1"/>
    <dgm:cxn modelId="{1E7302EB-D472-4438-B52A-F26175E90DED}" type="presOf" srcId="{49742260-F14F-4BCB-8D88-ADD2EB5024EC}" destId="{93507A0E-B606-4F7A-9C01-283769128FF2}" srcOrd="0" destOrd="0" presId="urn:microsoft.com/office/officeart/2005/8/layout/orgChart1"/>
    <dgm:cxn modelId="{A0E66910-A417-4433-846A-E364FADC3533}" srcId="{1CE2D78B-C788-472A-8424-7F9A4AB5205E}" destId="{49742260-F14F-4BCB-8D88-ADD2EB5024EC}" srcOrd="2" destOrd="0" parTransId="{9275B05E-F520-4192-9B33-84AEEBC3F62D}" sibTransId="{BDB94797-518D-4543-8D6F-13596FEC7A22}"/>
    <dgm:cxn modelId="{5DE0D61F-C78C-4231-A51E-DD257EB1086A}" type="presOf" srcId="{9B931718-FC68-4B2E-9854-492BCFE6FE83}" destId="{700B55C8-272E-490B-AB5F-A5C6369E8C79}" srcOrd="1" destOrd="0" presId="urn:microsoft.com/office/officeart/2005/8/layout/orgChart1"/>
    <dgm:cxn modelId="{D1B2C674-4D5D-486F-9D1A-770C5F24CE75}" type="presOf" srcId="{645C00E4-762B-4277-AD48-4328B4AF7430}" destId="{981682D2-6375-4500-994F-C7CC83594561}" srcOrd="0" destOrd="0" presId="urn:microsoft.com/office/officeart/2005/8/layout/orgChart1"/>
    <dgm:cxn modelId="{B1CAF2A6-CB39-4BC4-837D-CD4351D32C91}" type="presOf" srcId="{E420C67E-C4C2-476B-9B47-FFB47D587009}" destId="{45256018-C335-4CDB-9EC5-7AE2ABAC1E00}" srcOrd="1" destOrd="0" presId="urn:microsoft.com/office/officeart/2005/8/layout/orgChart1"/>
    <dgm:cxn modelId="{47B5FBC6-26B6-47AF-B886-0284078733D0}" type="presOf" srcId="{7D7C3FA2-CE75-4B7D-A218-416906B8D917}" destId="{63F8734B-291F-4EE9-8AEC-5D7130065FE8}" srcOrd="1" destOrd="0" presId="urn:microsoft.com/office/officeart/2005/8/layout/orgChart1"/>
    <dgm:cxn modelId="{DB516760-75CB-4C5E-8E21-305DEF571352}" type="presOf" srcId="{A60BCA66-49BB-4275-9110-8B471B3FC59B}" destId="{28E82B1A-B1F2-4CC5-9B64-B60015CBF624}" srcOrd="0" destOrd="0" presId="urn:microsoft.com/office/officeart/2005/8/layout/orgChart1"/>
    <dgm:cxn modelId="{D5D63967-64C6-49A4-A9A3-D0EC11F10C0A}" type="presOf" srcId="{A240A1E1-162D-4A6E-A806-B6FF45B3AB68}" destId="{20C564F4-BF5C-4321-B86B-65391CEDEFC7}" srcOrd="1" destOrd="0" presId="urn:microsoft.com/office/officeart/2005/8/layout/orgChart1"/>
    <dgm:cxn modelId="{3974DF94-2129-4469-8B6E-691098D6BBFF}" type="presOf" srcId="{0216D3CF-84E5-4443-8082-6C6C297E9A4D}" destId="{CBCDE87F-FA6C-44B8-A9C2-1E747BE7F736}" srcOrd="0" destOrd="0" presId="urn:microsoft.com/office/officeart/2005/8/layout/orgChart1"/>
    <dgm:cxn modelId="{F4E3F068-A8EF-4C89-A862-26EAAA4BE6BE}" type="presOf" srcId="{B8FD3D24-FF5C-481A-BFA0-ACCFF5DDB239}" destId="{6240857E-8E92-4FD3-BB54-32F6C167CD09}" srcOrd="0" destOrd="0" presId="urn:microsoft.com/office/officeart/2005/8/layout/orgChart1"/>
    <dgm:cxn modelId="{DB925F6A-7761-4D5E-84C9-D63652FE2570}" srcId="{C6E107C8-C87F-4E03-9C51-3B0FC309122B}" destId="{09967023-FD4B-4E34-A1C9-A393B75E32BA}" srcOrd="0" destOrd="0" parTransId="{28774598-E592-4921-B255-0225EB6D096E}" sibTransId="{0B7B4A03-7BEB-45DD-A62C-7505C5BC4A5B}"/>
    <dgm:cxn modelId="{EDBA0658-E51B-407E-8280-6566E3759E80}" type="presOf" srcId="{6ED4E1AA-EFDD-4E70-836E-3DB36084DE98}" destId="{C137CAE9-66E1-459B-A733-9B53B02E07AF}" srcOrd="0" destOrd="0" presId="urn:microsoft.com/office/officeart/2005/8/layout/orgChart1"/>
    <dgm:cxn modelId="{3A915EA5-CA32-4F69-8D0D-DC05FE3F0EF9}" type="presOf" srcId="{52015A54-073D-4B92-8FF1-0F1F5FE1561A}" destId="{BD1C35E1-9751-4DD4-B9AF-1CFE8C8B4E70}" srcOrd="0" destOrd="0" presId="urn:microsoft.com/office/officeart/2005/8/layout/orgChart1"/>
    <dgm:cxn modelId="{F05FD9BA-FAC7-4C52-9F56-F23A5E6B5F0D}" type="presOf" srcId="{7D7C3FA2-CE75-4B7D-A218-416906B8D917}" destId="{A77E27D0-EFD7-495B-9E1A-5A5371B8AB84}" srcOrd="0" destOrd="0" presId="urn:microsoft.com/office/officeart/2005/8/layout/orgChart1"/>
    <dgm:cxn modelId="{9019F144-4718-4306-B04E-DE130B19ACEE}" type="presOf" srcId="{F0BD47AB-7AC9-40A2-A96D-1A911EFDE7FF}" destId="{AEDC7120-FE6F-49D8-95F2-AB1B2B6AC9A8}" srcOrd="0" destOrd="0" presId="urn:microsoft.com/office/officeart/2005/8/layout/orgChart1"/>
    <dgm:cxn modelId="{81720232-8AC4-4D62-91DD-EA349EC4F568}" type="presOf" srcId="{C35FC96E-9015-4790-BDC3-6E0D4D502FCB}" destId="{B2267437-59D9-4F70-9854-AF295901641A}" srcOrd="1" destOrd="0" presId="urn:microsoft.com/office/officeart/2005/8/layout/orgChart1"/>
    <dgm:cxn modelId="{59158F0A-B174-4149-89F2-1E9E6692A41E}" type="presOf" srcId="{35016019-1F0E-47A9-A9CB-AE98C0AFCFC1}" destId="{428A54D9-43F6-47B6-B3A2-FDCE09CB5A97}" srcOrd="0" destOrd="0" presId="urn:microsoft.com/office/officeart/2005/8/layout/orgChart1"/>
    <dgm:cxn modelId="{F0C0AED6-3BFB-430A-84C4-C1842ECA49F1}" srcId="{1CE2D78B-C788-472A-8424-7F9A4AB5205E}" destId="{35016019-1F0E-47A9-A9CB-AE98C0AFCFC1}" srcOrd="1" destOrd="0" parTransId="{A60BCA66-49BB-4275-9110-8B471B3FC59B}" sibTransId="{549EC933-326F-43C6-A4AD-B0C6604A5CF9}"/>
    <dgm:cxn modelId="{ACF02C8A-D19E-480B-A4DA-96039F5B4B33}" type="presOf" srcId="{0216D3CF-84E5-4443-8082-6C6C297E9A4D}" destId="{CF9F174C-7D69-49F6-A7FE-7ED9990EB82A}" srcOrd="1" destOrd="0" presId="urn:microsoft.com/office/officeart/2005/8/layout/orgChart1"/>
    <dgm:cxn modelId="{21750872-B04E-4C03-AD17-BC45C731697E}" type="presOf" srcId="{54165FB5-F7A3-4BBF-B199-2BE2BA410DE8}" destId="{B562ECC0-9994-4B01-9E77-D5C13C496118}" srcOrd="0" destOrd="0" presId="urn:microsoft.com/office/officeart/2005/8/layout/orgChart1"/>
    <dgm:cxn modelId="{6B1FC14E-851A-4520-8F23-D5BEA1C3DA09}" type="presOf" srcId="{C35FC96E-9015-4790-BDC3-6E0D4D502FCB}" destId="{67A44139-B3F0-4118-89E8-A44A0D503C36}" srcOrd="0" destOrd="0" presId="urn:microsoft.com/office/officeart/2005/8/layout/orgChart1"/>
    <dgm:cxn modelId="{F7685062-29A4-438C-A36A-EFD3582AF9C5}" type="presOf" srcId="{90833815-F732-45AF-B735-7A208BE16A8A}" destId="{8FF15CAA-9BF1-4437-B877-2B6831555847}" srcOrd="1" destOrd="0" presId="urn:microsoft.com/office/officeart/2005/8/layout/orgChart1"/>
    <dgm:cxn modelId="{C3338A81-E71A-40AE-BCD7-605338436C98}" type="presOf" srcId="{A240A1E1-162D-4A6E-A806-B6FF45B3AB68}" destId="{6E033C69-6BA8-4812-AE4E-0022A986E944}" srcOrd="0" destOrd="0" presId="urn:microsoft.com/office/officeart/2005/8/layout/orgChart1"/>
    <dgm:cxn modelId="{9C163483-0D10-4441-ABF4-6FF679D07C90}" type="presOf" srcId="{0B5A8C4E-0287-4775-89CD-4F33BAC9506F}" destId="{E8D3E92A-0794-4DFF-ADF5-83A9F9869BDA}" srcOrd="0" destOrd="0" presId="urn:microsoft.com/office/officeart/2005/8/layout/orgChart1"/>
    <dgm:cxn modelId="{C159F786-ED38-476E-9CAF-598C4BA6A40C}" srcId="{43BDC9E6-B3ED-4E11-B81F-A36F96CA06AD}" destId="{C35FC96E-9015-4790-BDC3-6E0D4D502FCB}" srcOrd="3" destOrd="0" parTransId="{54165FB5-F7A3-4BBF-B199-2BE2BA410DE8}" sibTransId="{599E3296-C316-405C-B222-CEA737D995B5}"/>
    <dgm:cxn modelId="{37BC0568-C77E-4B99-B88F-F73FAA299DB2}" type="presOf" srcId="{E420C67E-C4C2-476B-9B47-FFB47D587009}" destId="{F0ED6141-24DB-4164-A2D4-B51E750525CD}" srcOrd="0" destOrd="0" presId="urn:microsoft.com/office/officeart/2005/8/layout/orgChart1"/>
    <dgm:cxn modelId="{1ECCC460-091D-44BF-B1BA-0C8298388779}" type="presOf" srcId="{1CE2D78B-C788-472A-8424-7F9A4AB5205E}" destId="{A5F2589C-C16C-45F2-9A3D-F2A6CB2476D1}" srcOrd="0" destOrd="0" presId="urn:microsoft.com/office/officeart/2005/8/layout/orgChart1"/>
    <dgm:cxn modelId="{DEF9041C-3D9E-4B54-97DE-A14022A211AF}" type="presOf" srcId="{843E3B21-DC9F-4CF8-A7F1-93BF704E47A7}" destId="{AB22B6A5-BFAD-4E5F-BED0-C002FA69FEEF}" srcOrd="1" destOrd="0" presId="urn:microsoft.com/office/officeart/2005/8/layout/orgChart1"/>
    <dgm:cxn modelId="{9C7F6B07-A07B-45B9-953F-91D6CEE4A905}" type="presOf" srcId="{2F6572D1-3E4E-41CC-B816-15F6AA753750}" destId="{C3C99CCA-0A47-4420-ABC8-53654C0C3796}" srcOrd="1" destOrd="0" presId="urn:microsoft.com/office/officeart/2005/8/layout/orgChart1"/>
    <dgm:cxn modelId="{F67FCC13-E61C-41BB-BCA3-BC577B0208CE}" type="presOf" srcId="{65D088B7-B36E-49AA-84B9-2BC51B326EA1}" destId="{96956835-3386-449C-A89B-65F7C680246D}" srcOrd="0" destOrd="0" presId="urn:microsoft.com/office/officeart/2005/8/layout/orgChart1"/>
    <dgm:cxn modelId="{6E2E3B55-A6EB-46D7-B7D0-04629FD4C800}" srcId="{843E3B21-DC9F-4CF8-A7F1-93BF704E47A7}" destId="{9B931718-FC68-4B2E-9854-492BCFE6FE83}" srcOrd="2" destOrd="0" parTransId="{359E2506-5D19-4F9C-8688-C666576175A9}" sibTransId="{3113A228-1208-4305-91A0-AEEDFF54B5B2}"/>
    <dgm:cxn modelId="{5D3215B8-DC99-46F7-8873-7D7BDF7856B5}" type="presOf" srcId="{62301F5E-BDD5-4369-B9CF-5999FECA1C85}" destId="{FE10A4AF-D8A8-4F2D-9661-56E5DBB5B2C5}" srcOrd="0" destOrd="0" presId="urn:microsoft.com/office/officeart/2005/8/layout/orgChart1"/>
    <dgm:cxn modelId="{3FBEBCB5-BA56-470F-9F91-49148D0D38A5}" type="presOf" srcId="{C6E107C8-C87F-4E03-9C51-3B0FC309122B}" destId="{78B1DB83-1FBB-4B72-AADA-6CBB1DAEF356}" srcOrd="0" destOrd="0" presId="urn:microsoft.com/office/officeart/2005/8/layout/orgChart1"/>
    <dgm:cxn modelId="{2382B7C5-B421-4E19-B96F-73D7B88E4C0B}" type="presOf" srcId="{14236E25-24F5-4DBC-8E23-FED5A30DEF0E}" destId="{A2B3E9C0-0CE1-4B88-9E71-F7CE1A7F99D7}" srcOrd="0" destOrd="0" presId="urn:microsoft.com/office/officeart/2005/8/layout/orgChart1"/>
    <dgm:cxn modelId="{632B6980-577B-4C04-BAFB-60C49EC88F9F}" type="presOf" srcId="{720AE7B9-47AD-4FF9-8447-DF1B8C5FD193}" destId="{1D0BA542-EABF-46D4-A11D-8954A50A4A27}" srcOrd="1" destOrd="0" presId="urn:microsoft.com/office/officeart/2005/8/layout/orgChart1"/>
    <dgm:cxn modelId="{73DA7B31-DA7E-4441-AC9A-8C23E2801401}" type="presOf" srcId="{43BDC9E6-B3ED-4E11-B81F-A36F96CA06AD}" destId="{1AD90FEA-3135-49C2-A3C0-CFEDDC6405B3}" srcOrd="0" destOrd="0" presId="urn:microsoft.com/office/officeart/2005/8/layout/orgChart1"/>
    <dgm:cxn modelId="{2AC6A1A2-FDAF-4C07-BF93-78DC05214544}" srcId="{43BDC9E6-B3ED-4E11-B81F-A36F96CA06AD}" destId="{E420C67E-C4C2-476B-9B47-FFB47D587009}" srcOrd="1" destOrd="0" parTransId="{65D088B7-B36E-49AA-84B9-2BC51B326EA1}" sibTransId="{7CC715FB-928E-4CFE-A8F5-045F16B2D743}"/>
    <dgm:cxn modelId="{6A0FD1B8-06D9-49C8-B4F8-BC14C618C1D6}" type="presOf" srcId="{C3334397-F4C9-43FD-9DE7-786437A51BF8}" destId="{CC07306D-4BD7-4477-BB61-A954489058D6}" srcOrd="0" destOrd="0" presId="urn:microsoft.com/office/officeart/2005/8/layout/orgChart1"/>
    <dgm:cxn modelId="{F53AB870-2783-4D0B-A0A2-D90D10966BD5}" type="presOf" srcId="{9275B05E-F520-4192-9B33-84AEEBC3F62D}" destId="{11628582-088E-42FA-B6EC-953F652565B0}" srcOrd="0" destOrd="0" presId="urn:microsoft.com/office/officeart/2005/8/layout/orgChart1"/>
    <dgm:cxn modelId="{C7B12242-93F1-42B1-8149-73B2BE7E9DC0}" srcId="{843E3B21-DC9F-4CF8-A7F1-93BF704E47A7}" destId="{720AE7B9-47AD-4FF9-8447-DF1B8C5FD193}" srcOrd="0" destOrd="0" parTransId="{3722DDF4-26E2-4422-A516-DEEAC3ECF65B}" sibTransId="{D7F902F3-F976-415B-98C3-59057320C539}"/>
    <dgm:cxn modelId="{3FFF3CE9-EFFE-4BAC-A9DA-AB6118C0F598}" type="presOf" srcId="{359E2506-5D19-4F9C-8688-C666576175A9}" destId="{50C84909-550F-4BDC-8966-B86E5E1786AE}" srcOrd="0" destOrd="0" presId="urn:microsoft.com/office/officeart/2005/8/layout/orgChart1"/>
    <dgm:cxn modelId="{6A7F0140-DA63-475B-B65D-5BFA68E85D1F}" type="presOf" srcId="{720AE7B9-47AD-4FF9-8447-DF1B8C5FD193}" destId="{1064D61A-5C37-497D-A6F5-6312AB6E3F5A}" srcOrd="0" destOrd="0" presId="urn:microsoft.com/office/officeart/2005/8/layout/orgChart1"/>
    <dgm:cxn modelId="{83752FF1-C3B3-4073-8D1F-A1EC5689AD18}" type="presOf" srcId="{52015A54-073D-4B92-8FF1-0F1F5FE1561A}" destId="{E9D97F7E-F6E2-4876-9CCF-33FF7FB7A306}" srcOrd="1" destOrd="0" presId="urn:microsoft.com/office/officeart/2005/8/layout/orgChart1"/>
    <dgm:cxn modelId="{E040E2E2-F016-4F82-9927-EA3D62DA0F57}" srcId="{A26E1133-27F8-42A1-91FE-23383B9ACC99}" destId="{43BDC9E6-B3ED-4E11-B81F-A36F96CA06AD}" srcOrd="0" destOrd="0" parTransId="{818B4425-229C-4D05-BD73-F2583AB7B9C5}" sibTransId="{A3D2AA9D-1D2C-45CA-9A99-0FD9E343747F}"/>
    <dgm:cxn modelId="{D5303A83-A782-4BB6-B537-EB76AE21A31F}" srcId="{E420C67E-C4C2-476B-9B47-FFB47D587009}" destId="{52015A54-073D-4B92-8FF1-0F1F5FE1561A}" srcOrd="4" destOrd="0" parTransId="{B8FD3D24-FF5C-481A-BFA0-ACCFF5DDB239}" sibTransId="{D70B0E39-2F64-4487-9F50-BA872A45E49A}"/>
    <dgm:cxn modelId="{BE04C1C3-BB81-4FD1-8EE7-2C61E63BBDEF}" type="presOf" srcId="{3722DDF4-26E2-4422-A516-DEEAC3ECF65B}" destId="{A83ED5F7-10A0-45C9-B814-5804FA76917E}" srcOrd="0" destOrd="0" presId="urn:microsoft.com/office/officeart/2005/8/layout/orgChart1"/>
    <dgm:cxn modelId="{6F4BA59B-7EDC-4F8C-982D-3503DEE92490}" type="presOf" srcId="{49742260-F14F-4BCB-8D88-ADD2EB5024EC}" destId="{FA7ED8CE-14CF-4D38-BE63-D19E93618025}" srcOrd="1" destOrd="0" presId="urn:microsoft.com/office/officeart/2005/8/layout/orgChart1"/>
    <dgm:cxn modelId="{3C110BFF-FD87-473E-9985-0D9D761E60BD}" srcId="{43BDC9E6-B3ED-4E11-B81F-A36F96CA06AD}" destId="{843E3B21-DC9F-4CF8-A7F1-93BF704E47A7}" srcOrd="0" destOrd="0" parTransId="{3EEFE082-C4FA-499A-BA01-E4B8217A4B73}" sibTransId="{2992CB8F-FBF4-486F-BE86-7AEC96D28238}"/>
    <dgm:cxn modelId="{0D252A7C-EA88-478B-9AB7-96B65AE1E68A}" srcId="{43BDC9E6-B3ED-4E11-B81F-A36F96CA06AD}" destId="{1CE2D78B-C788-472A-8424-7F9A4AB5205E}" srcOrd="2" destOrd="0" parTransId="{6ED4E1AA-EFDD-4E70-836E-3DB36084DE98}" sibTransId="{1D0F051B-C9A8-457A-BE08-985EF4C28172}"/>
    <dgm:cxn modelId="{62194C3C-5EB1-408E-B9CE-29D1AA498783}" type="presOf" srcId="{3EEFE082-C4FA-499A-BA01-E4B8217A4B73}" destId="{A3BC68A0-CABF-4126-884C-C90818E1E26E}" srcOrd="0" destOrd="0" presId="urn:microsoft.com/office/officeart/2005/8/layout/orgChart1"/>
    <dgm:cxn modelId="{1248FC3E-09BD-4A1E-8D20-9CB8430586D9}" type="presOf" srcId="{AFCA2418-8D6B-4E9C-BE52-FC74C908050F}" destId="{1B4F947A-69EB-46FF-A1EA-7664283D213E}" srcOrd="0" destOrd="0" presId="urn:microsoft.com/office/officeart/2005/8/layout/orgChart1"/>
    <dgm:cxn modelId="{CCB5AE26-70F4-4C5B-B53D-136E39A12AC5}" srcId="{1CE2D78B-C788-472A-8424-7F9A4AB5205E}" destId="{A240A1E1-162D-4A6E-A806-B6FF45B3AB68}" srcOrd="0" destOrd="0" parTransId="{F0BD47AB-7AC9-40A2-A96D-1A911EFDE7FF}" sibTransId="{A12D77FB-8453-4F78-A007-65AD68966259}"/>
    <dgm:cxn modelId="{2E9F2272-EE83-489F-ACFA-0FAF455C9418}" type="presOf" srcId="{09967023-FD4B-4E34-A1C9-A393B75E32BA}" destId="{43C79B55-7800-4403-B3B4-49E5363FFF1E}" srcOrd="0" destOrd="0" presId="urn:microsoft.com/office/officeart/2005/8/layout/orgChart1"/>
    <dgm:cxn modelId="{7BCDED2F-317A-4F1A-9C5E-30C6C08CE0F5}" type="presOf" srcId="{CFEBB133-5D80-4E9D-815E-BA7E2B5804D2}" destId="{50D60845-A14B-4DD0-8DB4-8B07FEB31A21}" srcOrd="0" destOrd="0" presId="urn:microsoft.com/office/officeart/2005/8/layout/orgChart1"/>
    <dgm:cxn modelId="{881C6EF9-8F93-4644-8133-6EA28A5758E3}" type="presOf" srcId="{453F9760-1876-428B-8CB6-DA8F60516D89}" destId="{1D4D3FE4-1739-4B3C-ACD2-597D18FBC50F}" srcOrd="0" destOrd="0" presId="urn:microsoft.com/office/officeart/2005/8/layout/orgChart1"/>
    <dgm:cxn modelId="{A675C00C-DFA2-4D68-9CE6-8B377DA94AB9}" type="presOf" srcId="{9B931718-FC68-4B2E-9854-492BCFE6FE83}" destId="{984A4F3B-0A00-4E5A-9092-1922B8A7FAB3}" srcOrd="0" destOrd="0" presId="urn:microsoft.com/office/officeart/2005/8/layout/orgChart1"/>
    <dgm:cxn modelId="{0F5A511E-5C7F-420E-AF64-1E25186F58A9}" type="presOf" srcId="{4E25AF54-5C18-4905-8913-7D1EA2AC6905}" destId="{2BC6CEE4-3F67-4FA6-8639-65EC4CCFF4D9}" srcOrd="0" destOrd="0" presId="urn:microsoft.com/office/officeart/2005/8/layout/orgChart1"/>
    <dgm:cxn modelId="{A3680141-951F-47D4-A96B-2F468567086C}" type="presOf" srcId="{09967023-FD4B-4E34-A1C9-A393B75E32BA}" destId="{FD009694-C9A9-4545-B9B4-AE343C4C6314}" srcOrd="1" destOrd="0" presId="urn:microsoft.com/office/officeart/2005/8/layout/orgChart1"/>
    <dgm:cxn modelId="{1C304D84-0857-4A23-A3CB-6B7250E39E3A}" type="presOf" srcId="{0B5A8C4E-0287-4775-89CD-4F33BAC9506F}" destId="{E4F391C2-584B-4F01-9A6E-BB77AA2A997A}" srcOrd="1" destOrd="0" presId="urn:microsoft.com/office/officeart/2005/8/layout/orgChart1"/>
    <dgm:cxn modelId="{7E8A394C-0B32-41E9-BC7B-038412EB61D4}" srcId="{E420C67E-C4C2-476B-9B47-FFB47D587009}" destId="{CFEBB133-5D80-4E9D-815E-BA7E2B5804D2}" srcOrd="3" destOrd="0" parTransId="{6C5C9B86-7AAA-465B-98FF-E3F38189A3AE}" sibTransId="{7FDECB7D-540F-4AC8-A911-0EDE43878630}"/>
    <dgm:cxn modelId="{DC26DD00-7E96-4253-85FB-85E068EA5BEA}" type="presOf" srcId="{2F6572D1-3E4E-41CC-B816-15F6AA753750}" destId="{7BABB840-5689-4566-85C9-55C4A127C4C6}" srcOrd="0" destOrd="0" presId="urn:microsoft.com/office/officeart/2005/8/layout/orgChart1"/>
    <dgm:cxn modelId="{0CFAC5B8-63E7-4672-B87B-428B57199B21}" type="presOf" srcId="{28774598-E592-4921-B255-0225EB6D096E}" destId="{AD70828E-DDD4-480C-BDFF-1E596F6615D1}" srcOrd="0" destOrd="0" presId="urn:microsoft.com/office/officeart/2005/8/layout/orgChart1"/>
    <dgm:cxn modelId="{B8182E77-F381-4119-96B6-E2F6FAE0ADEE}" type="presOf" srcId="{AFCA2418-8D6B-4E9C-BE52-FC74C908050F}" destId="{C553D0C6-AEE4-4F65-8DAC-62449D94D6A7}" srcOrd="1" destOrd="0" presId="urn:microsoft.com/office/officeart/2005/8/layout/orgChart1"/>
    <dgm:cxn modelId="{E2B6E013-AD38-498D-BA0E-3237E479D3D9}" type="presOf" srcId="{1CE2D78B-C788-472A-8424-7F9A4AB5205E}" destId="{6D7B6648-0B7F-4E1F-B6C5-CE0E2F04B9FF}" srcOrd="1" destOrd="0" presId="urn:microsoft.com/office/officeart/2005/8/layout/orgChart1"/>
    <dgm:cxn modelId="{8610AA7F-CBAA-4BCD-9830-DCE4C395B752}" type="presOf" srcId="{C6E107C8-C87F-4E03-9C51-3B0FC309122B}" destId="{BB23809A-293F-4A54-B283-6C2D984F118D}" srcOrd="1" destOrd="0" presId="urn:microsoft.com/office/officeart/2005/8/layout/orgChart1"/>
    <dgm:cxn modelId="{B435753D-9B10-480B-8C02-209A265E13BF}" type="presOf" srcId="{EF032B47-594B-4FE2-82AA-11F85DCB3B05}" destId="{6262AD45-37CE-4E4E-81E1-98A75BFFED33}" srcOrd="0" destOrd="0" presId="urn:microsoft.com/office/officeart/2005/8/layout/orgChart1"/>
    <dgm:cxn modelId="{FB2EC2A7-0BE7-49AE-96F9-01C8072ABE1D}" type="presOf" srcId="{CFEBB133-5D80-4E9D-815E-BA7E2B5804D2}" destId="{F55C39B9-C17D-4782-B68D-D9F73AAEE095}" srcOrd="1" destOrd="0" presId="urn:microsoft.com/office/officeart/2005/8/layout/orgChart1"/>
    <dgm:cxn modelId="{2AB61074-76A9-4C78-8BA3-D1E52826F5F0}" type="presOf" srcId="{6C5C9B86-7AAA-465B-98FF-E3F38189A3AE}" destId="{3A94D9E8-C2A3-4765-9477-D710CC646957}" srcOrd="0" destOrd="0" presId="urn:microsoft.com/office/officeart/2005/8/layout/orgChart1"/>
    <dgm:cxn modelId="{A630084D-67F8-48A7-9951-F46F3604D1B4}" srcId="{E420C67E-C4C2-476B-9B47-FFB47D587009}" destId="{90833815-F732-45AF-B735-7A208BE16A8A}" srcOrd="1" destOrd="0" parTransId="{62301F5E-BDD5-4369-B9CF-5999FECA1C85}" sibTransId="{7A88FAF5-FAAB-4848-B347-2B42AF8023FF}"/>
    <dgm:cxn modelId="{482DB792-4616-4429-8146-834A4E403FCA}" srcId="{C35FC96E-9015-4790-BDC3-6E0D4D502FCB}" destId="{AFCA2418-8D6B-4E9C-BE52-FC74C908050F}" srcOrd="0" destOrd="0" parTransId="{4E25AF54-5C18-4905-8913-7D1EA2AC6905}" sibTransId="{2863A287-FD1D-46AB-958E-D6DB7D840902}"/>
    <dgm:cxn modelId="{253AFBE7-C7C0-4304-B65A-E9B40EE710DD}" type="presParOf" srcId="{E9F5810C-05C5-4937-8779-609DD6BD5CFD}" destId="{25A00B3E-FEA8-439F-999E-8DB6BC95DBC0}" srcOrd="0" destOrd="0" presId="urn:microsoft.com/office/officeart/2005/8/layout/orgChart1"/>
    <dgm:cxn modelId="{413C5657-A4B6-4457-ADBE-9F23CA195D1F}" type="presParOf" srcId="{25A00B3E-FEA8-439F-999E-8DB6BC95DBC0}" destId="{305CB9B7-E4C6-453D-AC39-1DA3FA25C576}" srcOrd="0" destOrd="0" presId="urn:microsoft.com/office/officeart/2005/8/layout/orgChart1"/>
    <dgm:cxn modelId="{DA0828E4-9818-41BF-8F68-480498E13FF1}" type="presParOf" srcId="{305CB9B7-E4C6-453D-AC39-1DA3FA25C576}" destId="{1AD90FEA-3135-49C2-A3C0-CFEDDC6405B3}" srcOrd="0" destOrd="0" presId="urn:microsoft.com/office/officeart/2005/8/layout/orgChart1"/>
    <dgm:cxn modelId="{DE354280-1F31-44AF-8375-F3E424DA4EF6}" type="presParOf" srcId="{305CB9B7-E4C6-453D-AC39-1DA3FA25C576}" destId="{6EF86BC6-06CE-4768-9942-F4420543D5EE}" srcOrd="1" destOrd="0" presId="urn:microsoft.com/office/officeart/2005/8/layout/orgChart1"/>
    <dgm:cxn modelId="{DC389800-C5AB-4C26-8766-A819C34EFCE3}" type="presParOf" srcId="{25A00B3E-FEA8-439F-999E-8DB6BC95DBC0}" destId="{EC72B6B4-B63E-4FE2-8CC2-5FA221770366}" srcOrd="1" destOrd="0" presId="urn:microsoft.com/office/officeart/2005/8/layout/orgChart1"/>
    <dgm:cxn modelId="{797F492A-B75E-49E3-A860-7035418DE5BD}" type="presParOf" srcId="{EC72B6B4-B63E-4FE2-8CC2-5FA221770366}" destId="{A3BC68A0-CABF-4126-884C-C90818E1E26E}" srcOrd="0" destOrd="0" presId="urn:microsoft.com/office/officeart/2005/8/layout/orgChart1"/>
    <dgm:cxn modelId="{6FE14369-4214-470B-900A-5B68CF960636}" type="presParOf" srcId="{EC72B6B4-B63E-4FE2-8CC2-5FA221770366}" destId="{9B84C5AA-6259-445A-8F7A-6D366FCBB4AD}" srcOrd="1" destOrd="0" presId="urn:microsoft.com/office/officeart/2005/8/layout/orgChart1"/>
    <dgm:cxn modelId="{497D4D13-662D-4D63-8B63-C6CBABA2990B}" type="presParOf" srcId="{9B84C5AA-6259-445A-8F7A-6D366FCBB4AD}" destId="{F324FB99-E565-440D-9319-A2867DA87756}" srcOrd="0" destOrd="0" presId="urn:microsoft.com/office/officeart/2005/8/layout/orgChart1"/>
    <dgm:cxn modelId="{4E2BC74D-3F3E-4073-8BD2-DDAEF48724D5}" type="presParOf" srcId="{F324FB99-E565-440D-9319-A2867DA87756}" destId="{5E5C4910-D5C2-4117-9825-0F4E2308A1D4}" srcOrd="0" destOrd="0" presId="urn:microsoft.com/office/officeart/2005/8/layout/orgChart1"/>
    <dgm:cxn modelId="{BE8E5BF2-BF06-4C9E-B22A-51202BC0069A}" type="presParOf" srcId="{F324FB99-E565-440D-9319-A2867DA87756}" destId="{AB22B6A5-BFAD-4E5F-BED0-C002FA69FEEF}" srcOrd="1" destOrd="0" presId="urn:microsoft.com/office/officeart/2005/8/layout/orgChart1"/>
    <dgm:cxn modelId="{AEF22164-F562-4342-A412-B367BD65D85C}" type="presParOf" srcId="{9B84C5AA-6259-445A-8F7A-6D366FCBB4AD}" destId="{16186025-4BC6-46E2-97F6-F9084F02632D}" srcOrd="1" destOrd="0" presId="urn:microsoft.com/office/officeart/2005/8/layout/orgChart1"/>
    <dgm:cxn modelId="{E1C7300E-D19B-4800-9752-8960EE4D3F5E}" type="presParOf" srcId="{16186025-4BC6-46E2-97F6-F9084F02632D}" destId="{A83ED5F7-10A0-45C9-B814-5804FA76917E}" srcOrd="0" destOrd="0" presId="urn:microsoft.com/office/officeart/2005/8/layout/orgChart1"/>
    <dgm:cxn modelId="{18B74FC7-C0B4-4647-9DBB-1E001BDEE763}" type="presParOf" srcId="{16186025-4BC6-46E2-97F6-F9084F02632D}" destId="{D44CFE56-6231-4D51-BDF4-F9842887D455}" srcOrd="1" destOrd="0" presId="urn:microsoft.com/office/officeart/2005/8/layout/orgChart1"/>
    <dgm:cxn modelId="{B568E583-C5BC-4EEE-BC35-34C24C4DEE52}" type="presParOf" srcId="{D44CFE56-6231-4D51-BDF4-F9842887D455}" destId="{F340CB26-8421-44AC-9592-9BB7E87D96B8}" srcOrd="0" destOrd="0" presId="urn:microsoft.com/office/officeart/2005/8/layout/orgChart1"/>
    <dgm:cxn modelId="{FEDCA054-B00C-4D1B-A074-ABCA55FBC492}" type="presParOf" srcId="{F340CB26-8421-44AC-9592-9BB7E87D96B8}" destId="{1064D61A-5C37-497D-A6F5-6312AB6E3F5A}" srcOrd="0" destOrd="0" presId="urn:microsoft.com/office/officeart/2005/8/layout/orgChart1"/>
    <dgm:cxn modelId="{9DD3AA3D-B0BA-496A-9E75-21FCA9FD9FC2}" type="presParOf" srcId="{F340CB26-8421-44AC-9592-9BB7E87D96B8}" destId="{1D0BA542-EABF-46D4-A11D-8954A50A4A27}" srcOrd="1" destOrd="0" presId="urn:microsoft.com/office/officeart/2005/8/layout/orgChart1"/>
    <dgm:cxn modelId="{7372DBFB-9AA5-4B72-A4CD-F878B060B455}" type="presParOf" srcId="{D44CFE56-6231-4D51-BDF4-F9842887D455}" destId="{CB5479DD-BB83-4A7F-A8FE-0204BBEBDE57}" srcOrd="1" destOrd="0" presId="urn:microsoft.com/office/officeart/2005/8/layout/orgChart1"/>
    <dgm:cxn modelId="{74761B69-F214-4472-B22F-3405DEBFDB4A}" type="presParOf" srcId="{D44CFE56-6231-4D51-BDF4-F9842887D455}" destId="{72F3B94E-5E2C-4DF9-BCD5-3D635951032C}" srcOrd="2" destOrd="0" presId="urn:microsoft.com/office/officeart/2005/8/layout/orgChart1"/>
    <dgm:cxn modelId="{36A617A3-DD5F-48F8-941E-1FF453F2B33E}" type="presParOf" srcId="{16186025-4BC6-46E2-97F6-F9084F02632D}" destId="{A2B3E9C0-0CE1-4B88-9E71-F7CE1A7F99D7}" srcOrd="2" destOrd="0" presId="urn:microsoft.com/office/officeart/2005/8/layout/orgChart1"/>
    <dgm:cxn modelId="{C6D54522-78B6-41F1-ABC5-C2DC0732CA42}" type="presParOf" srcId="{16186025-4BC6-46E2-97F6-F9084F02632D}" destId="{16797127-63BB-4E8C-8005-5E72B3FF9B3C}" srcOrd="3" destOrd="0" presId="urn:microsoft.com/office/officeart/2005/8/layout/orgChart1"/>
    <dgm:cxn modelId="{2558B81F-97DA-438C-AFC9-7DDD673F3A9A}" type="presParOf" srcId="{16797127-63BB-4E8C-8005-5E72B3FF9B3C}" destId="{4DFEF789-40AF-4966-81EA-F7C1CBE52773}" srcOrd="0" destOrd="0" presId="urn:microsoft.com/office/officeart/2005/8/layout/orgChart1"/>
    <dgm:cxn modelId="{E5D670A6-D9F4-450A-BFD3-87AC74D2B6E3}" type="presParOf" srcId="{4DFEF789-40AF-4966-81EA-F7C1CBE52773}" destId="{A77E27D0-EFD7-495B-9E1A-5A5371B8AB84}" srcOrd="0" destOrd="0" presId="urn:microsoft.com/office/officeart/2005/8/layout/orgChart1"/>
    <dgm:cxn modelId="{7D8BD01F-45A7-480C-B996-6E167B139958}" type="presParOf" srcId="{4DFEF789-40AF-4966-81EA-F7C1CBE52773}" destId="{63F8734B-291F-4EE9-8AEC-5D7130065FE8}" srcOrd="1" destOrd="0" presId="urn:microsoft.com/office/officeart/2005/8/layout/orgChart1"/>
    <dgm:cxn modelId="{E22C2FC7-1F70-4141-9A87-62B49EFB499C}" type="presParOf" srcId="{16797127-63BB-4E8C-8005-5E72B3FF9B3C}" destId="{F1241E53-1837-4666-9A60-B6AD42958195}" srcOrd="1" destOrd="0" presId="urn:microsoft.com/office/officeart/2005/8/layout/orgChart1"/>
    <dgm:cxn modelId="{6F666585-EEE9-4D4D-9664-5A2099E4B332}" type="presParOf" srcId="{16797127-63BB-4E8C-8005-5E72B3FF9B3C}" destId="{E1079AD2-0C8E-44F0-9596-6D504E6161CE}" srcOrd="2" destOrd="0" presId="urn:microsoft.com/office/officeart/2005/8/layout/orgChart1"/>
    <dgm:cxn modelId="{9EFBC3C9-51EF-4848-8661-0A39448FCA59}" type="presParOf" srcId="{16186025-4BC6-46E2-97F6-F9084F02632D}" destId="{50C84909-550F-4BDC-8966-B86E5E1786AE}" srcOrd="4" destOrd="0" presId="urn:microsoft.com/office/officeart/2005/8/layout/orgChart1"/>
    <dgm:cxn modelId="{D2955821-E696-4AE1-9476-0E93360B0240}" type="presParOf" srcId="{16186025-4BC6-46E2-97F6-F9084F02632D}" destId="{EBCAC25B-3E97-4708-AA7E-0D44E4C06B2C}" srcOrd="5" destOrd="0" presId="urn:microsoft.com/office/officeart/2005/8/layout/orgChart1"/>
    <dgm:cxn modelId="{BF4E438C-3591-4036-9E81-7546E248069D}" type="presParOf" srcId="{EBCAC25B-3E97-4708-AA7E-0D44E4C06B2C}" destId="{56A22D43-7DD1-46E6-B06A-D1D662EE6DAD}" srcOrd="0" destOrd="0" presId="urn:microsoft.com/office/officeart/2005/8/layout/orgChart1"/>
    <dgm:cxn modelId="{03AB11B8-8C23-4E0E-907F-302BED67FDE6}" type="presParOf" srcId="{56A22D43-7DD1-46E6-B06A-D1D662EE6DAD}" destId="{984A4F3B-0A00-4E5A-9092-1922B8A7FAB3}" srcOrd="0" destOrd="0" presId="urn:microsoft.com/office/officeart/2005/8/layout/orgChart1"/>
    <dgm:cxn modelId="{537F7EBE-5122-4A63-A931-A74440D5AD4F}" type="presParOf" srcId="{56A22D43-7DD1-46E6-B06A-D1D662EE6DAD}" destId="{700B55C8-272E-490B-AB5F-A5C6369E8C79}" srcOrd="1" destOrd="0" presId="urn:microsoft.com/office/officeart/2005/8/layout/orgChart1"/>
    <dgm:cxn modelId="{1B7E4393-B69C-42C6-B6C3-C44402F3A53B}" type="presParOf" srcId="{EBCAC25B-3E97-4708-AA7E-0D44E4C06B2C}" destId="{18D6C1B6-F902-4ABE-BB60-086B907C1C3A}" srcOrd="1" destOrd="0" presId="urn:microsoft.com/office/officeart/2005/8/layout/orgChart1"/>
    <dgm:cxn modelId="{9D95D09C-E846-487A-B340-86EE2F5BD487}" type="presParOf" srcId="{EBCAC25B-3E97-4708-AA7E-0D44E4C06B2C}" destId="{4E3F742A-A2F5-4971-A026-90DA3CFE956C}" srcOrd="2" destOrd="0" presId="urn:microsoft.com/office/officeart/2005/8/layout/orgChart1"/>
    <dgm:cxn modelId="{69308315-70F0-4206-8D0F-039B72E6B701}" type="presParOf" srcId="{16186025-4BC6-46E2-97F6-F9084F02632D}" destId="{6262AD45-37CE-4E4E-81E1-98A75BFFED33}" srcOrd="6" destOrd="0" presId="urn:microsoft.com/office/officeart/2005/8/layout/orgChart1"/>
    <dgm:cxn modelId="{CCCBFD80-2540-487C-B686-9A0D48BF1BE1}" type="presParOf" srcId="{16186025-4BC6-46E2-97F6-F9084F02632D}" destId="{3BDA7C33-CC97-412E-A3EC-9F252E4F5A5A}" srcOrd="7" destOrd="0" presId="urn:microsoft.com/office/officeart/2005/8/layout/orgChart1"/>
    <dgm:cxn modelId="{53337396-13AD-4566-89B5-99935B02C158}" type="presParOf" srcId="{3BDA7C33-CC97-412E-A3EC-9F252E4F5A5A}" destId="{2723E1CD-4CEE-4F07-87CD-20B12A8FC827}" srcOrd="0" destOrd="0" presId="urn:microsoft.com/office/officeart/2005/8/layout/orgChart1"/>
    <dgm:cxn modelId="{5AB72811-4020-43D1-8379-3F977F5125B1}" type="presParOf" srcId="{2723E1CD-4CEE-4F07-87CD-20B12A8FC827}" destId="{E8D3E92A-0794-4DFF-ADF5-83A9F9869BDA}" srcOrd="0" destOrd="0" presId="urn:microsoft.com/office/officeart/2005/8/layout/orgChart1"/>
    <dgm:cxn modelId="{EDB548D8-2976-4113-AB0A-3A33254E43FC}" type="presParOf" srcId="{2723E1CD-4CEE-4F07-87CD-20B12A8FC827}" destId="{E4F391C2-584B-4F01-9A6E-BB77AA2A997A}" srcOrd="1" destOrd="0" presId="urn:microsoft.com/office/officeart/2005/8/layout/orgChart1"/>
    <dgm:cxn modelId="{E7D9DDF8-3EFE-47ED-8461-E51EEAD680AC}" type="presParOf" srcId="{3BDA7C33-CC97-412E-A3EC-9F252E4F5A5A}" destId="{B2E11ABB-6C93-42E1-91A1-DB542954BA14}" srcOrd="1" destOrd="0" presId="urn:microsoft.com/office/officeart/2005/8/layout/orgChart1"/>
    <dgm:cxn modelId="{455AE0DF-7B4A-4DDE-842D-AACEEFC514B0}" type="presParOf" srcId="{3BDA7C33-CC97-412E-A3EC-9F252E4F5A5A}" destId="{7916A290-6350-41CF-9D02-42ED9408F54E}" srcOrd="2" destOrd="0" presId="urn:microsoft.com/office/officeart/2005/8/layout/orgChart1"/>
    <dgm:cxn modelId="{9207E36D-1A0F-45DC-9F9C-0299377B7C6A}" type="presParOf" srcId="{9B84C5AA-6259-445A-8F7A-6D366FCBB4AD}" destId="{82355405-192E-42E7-B905-7A6FE845C6D9}" srcOrd="2" destOrd="0" presId="urn:microsoft.com/office/officeart/2005/8/layout/orgChart1"/>
    <dgm:cxn modelId="{32B182DD-EDBC-4F74-8A43-E24C46E3C507}" type="presParOf" srcId="{EC72B6B4-B63E-4FE2-8CC2-5FA221770366}" destId="{96956835-3386-449C-A89B-65F7C680246D}" srcOrd="2" destOrd="0" presId="urn:microsoft.com/office/officeart/2005/8/layout/orgChart1"/>
    <dgm:cxn modelId="{F8066CFE-9202-48C8-B5C1-E7DD62CD1BC9}" type="presParOf" srcId="{EC72B6B4-B63E-4FE2-8CC2-5FA221770366}" destId="{DBD72DFC-EF80-4973-B6E5-D3C9AB052F9E}" srcOrd="3" destOrd="0" presId="urn:microsoft.com/office/officeart/2005/8/layout/orgChart1"/>
    <dgm:cxn modelId="{1F1AE4A9-BBC4-4A5A-925D-1CB409E4BA09}" type="presParOf" srcId="{DBD72DFC-EF80-4973-B6E5-D3C9AB052F9E}" destId="{72B31F8C-4060-4D82-8D0A-8A332812C464}" srcOrd="0" destOrd="0" presId="urn:microsoft.com/office/officeart/2005/8/layout/orgChart1"/>
    <dgm:cxn modelId="{6961E86C-F9CE-42B2-87FD-22CEEBD9E16D}" type="presParOf" srcId="{72B31F8C-4060-4D82-8D0A-8A332812C464}" destId="{F0ED6141-24DB-4164-A2D4-B51E750525CD}" srcOrd="0" destOrd="0" presId="urn:microsoft.com/office/officeart/2005/8/layout/orgChart1"/>
    <dgm:cxn modelId="{7704A6DF-F6B6-4D2C-9136-9B3854FCD3B5}" type="presParOf" srcId="{72B31F8C-4060-4D82-8D0A-8A332812C464}" destId="{45256018-C335-4CDB-9EC5-7AE2ABAC1E00}" srcOrd="1" destOrd="0" presId="urn:microsoft.com/office/officeart/2005/8/layout/orgChart1"/>
    <dgm:cxn modelId="{7DE55116-A609-4D08-B49D-BB2A8520101E}" type="presParOf" srcId="{DBD72DFC-EF80-4973-B6E5-D3C9AB052F9E}" destId="{2A7D3334-4741-4667-BCDB-1A78491B4FD4}" srcOrd="1" destOrd="0" presId="urn:microsoft.com/office/officeart/2005/8/layout/orgChart1"/>
    <dgm:cxn modelId="{B5DCBACB-D352-4652-B452-80701C28E3F2}" type="presParOf" srcId="{2A7D3334-4741-4667-BCDB-1A78491B4FD4}" destId="{CC07306D-4BD7-4477-BB61-A954489058D6}" srcOrd="0" destOrd="0" presId="urn:microsoft.com/office/officeart/2005/8/layout/orgChart1"/>
    <dgm:cxn modelId="{02435363-8097-44FD-93E7-E467D23B5F7E}" type="presParOf" srcId="{2A7D3334-4741-4667-BCDB-1A78491B4FD4}" destId="{0ECB6EE9-64D7-46FB-8A0A-B83CD370F0B4}" srcOrd="1" destOrd="0" presId="urn:microsoft.com/office/officeart/2005/8/layout/orgChart1"/>
    <dgm:cxn modelId="{A8549656-E85B-4B30-B280-B80758600C23}" type="presParOf" srcId="{0ECB6EE9-64D7-46FB-8A0A-B83CD370F0B4}" destId="{9D96850F-E3A0-4435-B942-5F48B18AC5F4}" srcOrd="0" destOrd="0" presId="urn:microsoft.com/office/officeart/2005/8/layout/orgChart1"/>
    <dgm:cxn modelId="{4438D7AE-B5FE-41A9-924C-4C6996E4BAF8}" type="presParOf" srcId="{9D96850F-E3A0-4435-B942-5F48B18AC5F4}" destId="{CBCDE87F-FA6C-44B8-A9C2-1E747BE7F736}" srcOrd="0" destOrd="0" presId="urn:microsoft.com/office/officeart/2005/8/layout/orgChart1"/>
    <dgm:cxn modelId="{8FCC8F75-F55E-45EA-A464-7F1DFF7C82CA}" type="presParOf" srcId="{9D96850F-E3A0-4435-B942-5F48B18AC5F4}" destId="{CF9F174C-7D69-49F6-A7FE-7ED9990EB82A}" srcOrd="1" destOrd="0" presId="urn:microsoft.com/office/officeart/2005/8/layout/orgChart1"/>
    <dgm:cxn modelId="{28915AF3-3865-4C30-902A-62F0ABB9ABC9}" type="presParOf" srcId="{0ECB6EE9-64D7-46FB-8A0A-B83CD370F0B4}" destId="{1934090D-CBAE-4AB8-9BE7-C9762145998D}" srcOrd="1" destOrd="0" presId="urn:microsoft.com/office/officeart/2005/8/layout/orgChart1"/>
    <dgm:cxn modelId="{5147E6DD-4857-422B-8B38-BAD4244367EB}" type="presParOf" srcId="{0ECB6EE9-64D7-46FB-8A0A-B83CD370F0B4}" destId="{7BCCCAFF-8404-460B-9A5A-B8BF91057993}" srcOrd="2" destOrd="0" presId="urn:microsoft.com/office/officeart/2005/8/layout/orgChart1"/>
    <dgm:cxn modelId="{04B8631F-EDA8-486A-8382-56B8D7A0307C}" type="presParOf" srcId="{2A7D3334-4741-4667-BCDB-1A78491B4FD4}" destId="{FE10A4AF-D8A8-4F2D-9661-56E5DBB5B2C5}" srcOrd="2" destOrd="0" presId="urn:microsoft.com/office/officeart/2005/8/layout/orgChart1"/>
    <dgm:cxn modelId="{D4C36963-2391-4E41-97EF-BC67C9A88481}" type="presParOf" srcId="{2A7D3334-4741-4667-BCDB-1A78491B4FD4}" destId="{6E36B90A-357D-4409-934D-6F40EC568AE0}" srcOrd="3" destOrd="0" presId="urn:microsoft.com/office/officeart/2005/8/layout/orgChart1"/>
    <dgm:cxn modelId="{D5A64FDB-F8D9-4AE1-A900-848221007AEA}" type="presParOf" srcId="{6E36B90A-357D-4409-934D-6F40EC568AE0}" destId="{AB55976F-0A75-48BF-8621-9232364F260E}" srcOrd="0" destOrd="0" presId="urn:microsoft.com/office/officeart/2005/8/layout/orgChart1"/>
    <dgm:cxn modelId="{A2E3EEA6-A164-428A-B3D4-F6C4BB283DAB}" type="presParOf" srcId="{AB55976F-0A75-48BF-8621-9232364F260E}" destId="{5D0F02D1-4A23-4B53-AF4F-3529BE69829E}" srcOrd="0" destOrd="0" presId="urn:microsoft.com/office/officeart/2005/8/layout/orgChart1"/>
    <dgm:cxn modelId="{816AB5FB-4875-49ED-99CA-31AE03508BD9}" type="presParOf" srcId="{AB55976F-0A75-48BF-8621-9232364F260E}" destId="{8FF15CAA-9BF1-4437-B877-2B6831555847}" srcOrd="1" destOrd="0" presId="urn:microsoft.com/office/officeart/2005/8/layout/orgChart1"/>
    <dgm:cxn modelId="{D3BA086B-FD55-444A-9BDB-51F9C59E7311}" type="presParOf" srcId="{6E36B90A-357D-4409-934D-6F40EC568AE0}" destId="{8EE5665B-F21D-4DA6-A444-6C77DD3C6F95}" srcOrd="1" destOrd="0" presId="urn:microsoft.com/office/officeart/2005/8/layout/orgChart1"/>
    <dgm:cxn modelId="{409F644C-922F-4FCD-AB86-8BF2F78CFD13}" type="presParOf" srcId="{6E36B90A-357D-4409-934D-6F40EC568AE0}" destId="{F1F43870-C4AC-4AF4-AB05-6A054FC06D63}" srcOrd="2" destOrd="0" presId="urn:microsoft.com/office/officeart/2005/8/layout/orgChart1"/>
    <dgm:cxn modelId="{44B5A325-7D61-40C0-BF1F-0C9027646CDA}" type="presParOf" srcId="{2A7D3334-4741-4667-BCDB-1A78491B4FD4}" destId="{1D4D3FE4-1739-4B3C-ACD2-597D18FBC50F}" srcOrd="4" destOrd="0" presId="urn:microsoft.com/office/officeart/2005/8/layout/orgChart1"/>
    <dgm:cxn modelId="{F794A550-1AC1-47D6-B89C-0E2CC130C668}" type="presParOf" srcId="{2A7D3334-4741-4667-BCDB-1A78491B4FD4}" destId="{9115B6B6-EA79-4FE0-843B-D82CDE234246}" srcOrd="5" destOrd="0" presId="urn:microsoft.com/office/officeart/2005/8/layout/orgChart1"/>
    <dgm:cxn modelId="{70B4DE68-699F-47D4-ABA7-9714DD2A4F49}" type="presParOf" srcId="{9115B6B6-EA79-4FE0-843B-D82CDE234246}" destId="{B54B6D9A-0CB7-42FF-A0FD-F2137F2080D7}" srcOrd="0" destOrd="0" presId="urn:microsoft.com/office/officeart/2005/8/layout/orgChart1"/>
    <dgm:cxn modelId="{DBCF2A88-C70B-47BA-A95D-5D0DE0251E86}" type="presParOf" srcId="{B54B6D9A-0CB7-42FF-A0FD-F2137F2080D7}" destId="{7BABB840-5689-4566-85C9-55C4A127C4C6}" srcOrd="0" destOrd="0" presId="urn:microsoft.com/office/officeart/2005/8/layout/orgChart1"/>
    <dgm:cxn modelId="{C2C322B9-E547-4E6D-BA58-40DA16F10238}" type="presParOf" srcId="{B54B6D9A-0CB7-42FF-A0FD-F2137F2080D7}" destId="{C3C99CCA-0A47-4420-ABC8-53654C0C3796}" srcOrd="1" destOrd="0" presId="urn:microsoft.com/office/officeart/2005/8/layout/orgChart1"/>
    <dgm:cxn modelId="{5747069B-6673-4998-9B86-10A7D5FDDF43}" type="presParOf" srcId="{9115B6B6-EA79-4FE0-843B-D82CDE234246}" destId="{0D889D42-77FB-49A7-B6E8-3A8C670AFEAD}" srcOrd="1" destOrd="0" presId="urn:microsoft.com/office/officeart/2005/8/layout/orgChart1"/>
    <dgm:cxn modelId="{C0C7F705-0817-4834-AC80-85C8122789C8}" type="presParOf" srcId="{9115B6B6-EA79-4FE0-843B-D82CDE234246}" destId="{6BE4F57E-EC21-4523-B1EB-3AEDD24C4D44}" srcOrd="2" destOrd="0" presId="urn:microsoft.com/office/officeart/2005/8/layout/orgChart1"/>
    <dgm:cxn modelId="{6D6EBD6A-E2DB-48EB-8BBE-275E9B0DACD3}" type="presParOf" srcId="{2A7D3334-4741-4667-BCDB-1A78491B4FD4}" destId="{3A94D9E8-C2A3-4765-9477-D710CC646957}" srcOrd="6" destOrd="0" presId="urn:microsoft.com/office/officeart/2005/8/layout/orgChart1"/>
    <dgm:cxn modelId="{B05B5E19-8CC1-45B4-88FB-4098DC2ADE1F}" type="presParOf" srcId="{2A7D3334-4741-4667-BCDB-1A78491B4FD4}" destId="{2EAD44A1-134B-439B-87EC-257234921AE5}" srcOrd="7" destOrd="0" presId="urn:microsoft.com/office/officeart/2005/8/layout/orgChart1"/>
    <dgm:cxn modelId="{11B41EBF-D475-4F2D-8D9B-9588DA2EDDD2}" type="presParOf" srcId="{2EAD44A1-134B-439B-87EC-257234921AE5}" destId="{2FB73BF3-3C5D-4AD3-9D1C-8A589100FCB7}" srcOrd="0" destOrd="0" presId="urn:microsoft.com/office/officeart/2005/8/layout/orgChart1"/>
    <dgm:cxn modelId="{C7D73A55-1C76-40A9-AB6C-72832ADB24FE}" type="presParOf" srcId="{2FB73BF3-3C5D-4AD3-9D1C-8A589100FCB7}" destId="{50D60845-A14B-4DD0-8DB4-8B07FEB31A21}" srcOrd="0" destOrd="0" presId="urn:microsoft.com/office/officeart/2005/8/layout/orgChart1"/>
    <dgm:cxn modelId="{769B940C-77C1-4E77-97DC-DA1ABB0DA106}" type="presParOf" srcId="{2FB73BF3-3C5D-4AD3-9D1C-8A589100FCB7}" destId="{F55C39B9-C17D-4782-B68D-D9F73AAEE095}" srcOrd="1" destOrd="0" presId="urn:microsoft.com/office/officeart/2005/8/layout/orgChart1"/>
    <dgm:cxn modelId="{3CDFADF7-17FA-4108-966C-73A846AAC116}" type="presParOf" srcId="{2EAD44A1-134B-439B-87EC-257234921AE5}" destId="{FE161E8F-9C2C-4330-91D6-9E6A7C6F19FB}" srcOrd="1" destOrd="0" presId="urn:microsoft.com/office/officeart/2005/8/layout/orgChart1"/>
    <dgm:cxn modelId="{B0A3B373-71C2-4950-9FAB-5DF1E2A825AF}" type="presParOf" srcId="{2EAD44A1-134B-439B-87EC-257234921AE5}" destId="{DCFA5C64-38E4-453B-BB1F-AE8ADB7F8B50}" srcOrd="2" destOrd="0" presId="urn:microsoft.com/office/officeart/2005/8/layout/orgChart1"/>
    <dgm:cxn modelId="{C804C2BF-E254-4FBD-9931-BE4E290D8069}" type="presParOf" srcId="{2A7D3334-4741-4667-BCDB-1A78491B4FD4}" destId="{6240857E-8E92-4FD3-BB54-32F6C167CD09}" srcOrd="8" destOrd="0" presId="urn:microsoft.com/office/officeart/2005/8/layout/orgChart1"/>
    <dgm:cxn modelId="{19EEBD4C-40ED-4972-9507-5EAA8D7D4734}" type="presParOf" srcId="{2A7D3334-4741-4667-BCDB-1A78491B4FD4}" destId="{15B9C00A-6A73-4158-81BD-1F7308096CC8}" srcOrd="9" destOrd="0" presId="urn:microsoft.com/office/officeart/2005/8/layout/orgChart1"/>
    <dgm:cxn modelId="{1A44E7FC-EBA4-4CD3-BB70-5B848BD6D97D}" type="presParOf" srcId="{15B9C00A-6A73-4158-81BD-1F7308096CC8}" destId="{0B45F736-1A0E-4A7B-A649-FBC58E1CBB7D}" srcOrd="0" destOrd="0" presId="urn:microsoft.com/office/officeart/2005/8/layout/orgChart1"/>
    <dgm:cxn modelId="{38541299-EB27-4EAC-8F75-A19B55EF5EC0}" type="presParOf" srcId="{0B45F736-1A0E-4A7B-A649-FBC58E1CBB7D}" destId="{BD1C35E1-9751-4DD4-B9AF-1CFE8C8B4E70}" srcOrd="0" destOrd="0" presId="urn:microsoft.com/office/officeart/2005/8/layout/orgChart1"/>
    <dgm:cxn modelId="{C624D81B-B63A-418E-B53F-C714E445F613}" type="presParOf" srcId="{0B45F736-1A0E-4A7B-A649-FBC58E1CBB7D}" destId="{E9D97F7E-F6E2-4876-9CCF-33FF7FB7A306}" srcOrd="1" destOrd="0" presId="urn:microsoft.com/office/officeart/2005/8/layout/orgChart1"/>
    <dgm:cxn modelId="{38B3F8C7-86EE-47EE-B5B8-4A06F14B4CF2}" type="presParOf" srcId="{15B9C00A-6A73-4158-81BD-1F7308096CC8}" destId="{29CC4417-FD35-462A-AB7F-4A305202200E}" srcOrd="1" destOrd="0" presId="urn:microsoft.com/office/officeart/2005/8/layout/orgChart1"/>
    <dgm:cxn modelId="{15AB7A05-38A5-4BEE-98BA-9922E7A32C82}" type="presParOf" srcId="{15B9C00A-6A73-4158-81BD-1F7308096CC8}" destId="{9EF0C1A1-B522-4DAB-AD15-507C0F3FBD56}" srcOrd="2" destOrd="0" presId="urn:microsoft.com/office/officeart/2005/8/layout/orgChart1"/>
    <dgm:cxn modelId="{7121204B-996B-4215-B9C8-1A2007B94987}" type="presParOf" srcId="{DBD72DFC-EF80-4973-B6E5-D3C9AB052F9E}" destId="{1DBB8D6B-1EA9-448A-B87B-A162873E7B21}" srcOrd="2" destOrd="0" presId="urn:microsoft.com/office/officeart/2005/8/layout/orgChart1"/>
    <dgm:cxn modelId="{EDA83CEE-532E-440C-88F0-58962B9238DB}" type="presParOf" srcId="{EC72B6B4-B63E-4FE2-8CC2-5FA221770366}" destId="{C137CAE9-66E1-459B-A733-9B53B02E07AF}" srcOrd="4" destOrd="0" presId="urn:microsoft.com/office/officeart/2005/8/layout/orgChart1"/>
    <dgm:cxn modelId="{9E8DEB73-9558-4BB9-9D0B-14030714A03D}" type="presParOf" srcId="{EC72B6B4-B63E-4FE2-8CC2-5FA221770366}" destId="{35CBA655-D40F-4A2B-B71A-711D392B5A84}" srcOrd="5" destOrd="0" presId="urn:microsoft.com/office/officeart/2005/8/layout/orgChart1"/>
    <dgm:cxn modelId="{F4B7C2C7-392C-4CC7-B362-382F5310EABE}" type="presParOf" srcId="{35CBA655-D40F-4A2B-B71A-711D392B5A84}" destId="{9DC86AED-B6DB-4100-9EA0-4E60FFB4A367}" srcOrd="0" destOrd="0" presId="urn:microsoft.com/office/officeart/2005/8/layout/orgChart1"/>
    <dgm:cxn modelId="{51146073-ABF2-45AE-85DF-4F86A4A22FAA}" type="presParOf" srcId="{9DC86AED-B6DB-4100-9EA0-4E60FFB4A367}" destId="{A5F2589C-C16C-45F2-9A3D-F2A6CB2476D1}" srcOrd="0" destOrd="0" presId="urn:microsoft.com/office/officeart/2005/8/layout/orgChart1"/>
    <dgm:cxn modelId="{3A29AE4F-F4ED-4EE1-9D20-6CD4FD47A6CD}" type="presParOf" srcId="{9DC86AED-B6DB-4100-9EA0-4E60FFB4A367}" destId="{6D7B6648-0B7F-4E1F-B6C5-CE0E2F04B9FF}" srcOrd="1" destOrd="0" presId="urn:microsoft.com/office/officeart/2005/8/layout/orgChart1"/>
    <dgm:cxn modelId="{EF238475-FD6E-41EB-AF1B-AC593CB49BCF}" type="presParOf" srcId="{35CBA655-D40F-4A2B-B71A-711D392B5A84}" destId="{29CE8073-D253-4588-B954-7167D33B1947}" srcOrd="1" destOrd="0" presId="urn:microsoft.com/office/officeart/2005/8/layout/orgChart1"/>
    <dgm:cxn modelId="{26F948E8-F867-47DD-8A30-11311E6B4699}" type="presParOf" srcId="{29CE8073-D253-4588-B954-7167D33B1947}" destId="{AEDC7120-FE6F-49D8-95F2-AB1B2B6AC9A8}" srcOrd="0" destOrd="0" presId="urn:microsoft.com/office/officeart/2005/8/layout/orgChart1"/>
    <dgm:cxn modelId="{5F4BD38E-0B55-4123-8E3E-991E9BE688CD}" type="presParOf" srcId="{29CE8073-D253-4588-B954-7167D33B1947}" destId="{F65159AB-B6AE-4C58-BE85-DB4966F15FBA}" srcOrd="1" destOrd="0" presId="urn:microsoft.com/office/officeart/2005/8/layout/orgChart1"/>
    <dgm:cxn modelId="{1861B8A7-941E-4B03-A4D4-08D0E7138EA6}" type="presParOf" srcId="{F65159AB-B6AE-4C58-BE85-DB4966F15FBA}" destId="{4413A7CD-B07B-4481-95F7-63264BEB8326}" srcOrd="0" destOrd="0" presId="urn:microsoft.com/office/officeart/2005/8/layout/orgChart1"/>
    <dgm:cxn modelId="{A10FC331-68B0-4E31-A6F6-B4313F3B2F97}" type="presParOf" srcId="{4413A7CD-B07B-4481-95F7-63264BEB8326}" destId="{6E033C69-6BA8-4812-AE4E-0022A986E944}" srcOrd="0" destOrd="0" presId="urn:microsoft.com/office/officeart/2005/8/layout/orgChart1"/>
    <dgm:cxn modelId="{3084EB79-AF14-42B5-AE30-C5FB6A5F007F}" type="presParOf" srcId="{4413A7CD-B07B-4481-95F7-63264BEB8326}" destId="{20C564F4-BF5C-4321-B86B-65391CEDEFC7}" srcOrd="1" destOrd="0" presId="urn:microsoft.com/office/officeart/2005/8/layout/orgChart1"/>
    <dgm:cxn modelId="{91337468-44C3-40FB-9175-ADBF85DA280D}" type="presParOf" srcId="{F65159AB-B6AE-4C58-BE85-DB4966F15FBA}" destId="{7C0A51FE-5187-4FBA-A9F6-DFFAA1B3DD3E}" srcOrd="1" destOrd="0" presId="urn:microsoft.com/office/officeart/2005/8/layout/orgChart1"/>
    <dgm:cxn modelId="{548B5308-8E49-4E31-A37C-E4B79A4FE485}" type="presParOf" srcId="{F65159AB-B6AE-4C58-BE85-DB4966F15FBA}" destId="{A5F1F6CB-B812-4FEA-ACD0-E838992C8274}" srcOrd="2" destOrd="0" presId="urn:microsoft.com/office/officeart/2005/8/layout/orgChart1"/>
    <dgm:cxn modelId="{C67ED2E0-7A5D-4290-A013-BFC549D27449}" type="presParOf" srcId="{29CE8073-D253-4588-B954-7167D33B1947}" destId="{28E82B1A-B1F2-4CC5-9B64-B60015CBF624}" srcOrd="2" destOrd="0" presId="urn:microsoft.com/office/officeart/2005/8/layout/orgChart1"/>
    <dgm:cxn modelId="{1744AA4A-1750-4A47-B4DF-86CAE464760D}" type="presParOf" srcId="{29CE8073-D253-4588-B954-7167D33B1947}" destId="{B22DAA2B-22C5-4EFA-A0A6-9AD0235D2103}" srcOrd="3" destOrd="0" presId="urn:microsoft.com/office/officeart/2005/8/layout/orgChart1"/>
    <dgm:cxn modelId="{E34662A2-9546-4297-A4A5-221AC9E4A816}" type="presParOf" srcId="{B22DAA2B-22C5-4EFA-A0A6-9AD0235D2103}" destId="{514CA667-AA27-4D37-9311-1D5D85EF643D}" srcOrd="0" destOrd="0" presId="urn:microsoft.com/office/officeart/2005/8/layout/orgChart1"/>
    <dgm:cxn modelId="{253B7F02-3724-4AE4-9BF2-23D0EC3C17B9}" type="presParOf" srcId="{514CA667-AA27-4D37-9311-1D5D85EF643D}" destId="{428A54D9-43F6-47B6-B3A2-FDCE09CB5A97}" srcOrd="0" destOrd="0" presId="urn:microsoft.com/office/officeart/2005/8/layout/orgChart1"/>
    <dgm:cxn modelId="{5901BF01-AFC6-4AD1-AD26-36FB8004F266}" type="presParOf" srcId="{514CA667-AA27-4D37-9311-1D5D85EF643D}" destId="{31DAB6FE-4097-4695-9397-7DCCE262634B}" srcOrd="1" destOrd="0" presId="urn:microsoft.com/office/officeart/2005/8/layout/orgChart1"/>
    <dgm:cxn modelId="{04B0AB2C-0D7F-42B6-90B6-9D37C7099A81}" type="presParOf" srcId="{B22DAA2B-22C5-4EFA-A0A6-9AD0235D2103}" destId="{F4CC167B-F2F2-455C-9A45-823F18AFEF9A}" srcOrd="1" destOrd="0" presId="urn:microsoft.com/office/officeart/2005/8/layout/orgChart1"/>
    <dgm:cxn modelId="{F70C7F9A-F0FE-47CB-8C56-357A16494734}" type="presParOf" srcId="{B22DAA2B-22C5-4EFA-A0A6-9AD0235D2103}" destId="{A5D0575B-48E0-4A98-88E8-8B4961A6F762}" srcOrd="2" destOrd="0" presId="urn:microsoft.com/office/officeart/2005/8/layout/orgChart1"/>
    <dgm:cxn modelId="{5538EDE1-4CD4-45BA-BF76-A276F758A2E0}" type="presParOf" srcId="{29CE8073-D253-4588-B954-7167D33B1947}" destId="{11628582-088E-42FA-B6EC-953F652565B0}" srcOrd="4" destOrd="0" presId="urn:microsoft.com/office/officeart/2005/8/layout/orgChart1"/>
    <dgm:cxn modelId="{B5F15FE2-4490-4811-9337-943CCBB6F372}" type="presParOf" srcId="{29CE8073-D253-4588-B954-7167D33B1947}" destId="{7E6CA653-D7FD-4B20-AE44-C1F44E30C01B}" srcOrd="5" destOrd="0" presId="urn:microsoft.com/office/officeart/2005/8/layout/orgChart1"/>
    <dgm:cxn modelId="{9B3FAF86-E31A-42C6-AA6B-D996B32D926A}" type="presParOf" srcId="{7E6CA653-D7FD-4B20-AE44-C1F44E30C01B}" destId="{E179F35A-A640-480A-9C40-3D39813B5DA3}" srcOrd="0" destOrd="0" presId="urn:microsoft.com/office/officeart/2005/8/layout/orgChart1"/>
    <dgm:cxn modelId="{0D440703-EFFA-4A20-BBE6-DEEB6FE55940}" type="presParOf" srcId="{E179F35A-A640-480A-9C40-3D39813B5DA3}" destId="{93507A0E-B606-4F7A-9C01-283769128FF2}" srcOrd="0" destOrd="0" presId="urn:microsoft.com/office/officeart/2005/8/layout/orgChart1"/>
    <dgm:cxn modelId="{5DED018A-7A98-4416-9853-FDA499E8F82B}" type="presParOf" srcId="{E179F35A-A640-480A-9C40-3D39813B5DA3}" destId="{FA7ED8CE-14CF-4D38-BE63-D19E93618025}" srcOrd="1" destOrd="0" presId="urn:microsoft.com/office/officeart/2005/8/layout/orgChart1"/>
    <dgm:cxn modelId="{A1D76B49-2967-40B3-9FF6-C91B6845748C}" type="presParOf" srcId="{7E6CA653-D7FD-4B20-AE44-C1F44E30C01B}" destId="{D06BFE77-47E2-4E99-9240-F26F88BFBEAB}" srcOrd="1" destOrd="0" presId="urn:microsoft.com/office/officeart/2005/8/layout/orgChart1"/>
    <dgm:cxn modelId="{3275F94D-DC47-47E8-89BE-F9C06D3A46B3}" type="presParOf" srcId="{7E6CA653-D7FD-4B20-AE44-C1F44E30C01B}" destId="{801CA00E-B2B0-4EC5-9889-E9E28C332373}" srcOrd="2" destOrd="0" presId="urn:microsoft.com/office/officeart/2005/8/layout/orgChart1"/>
    <dgm:cxn modelId="{FFD02DBA-8532-483E-A49A-026D5195FC95}" type="presParOf" srcId="{35CBA655-D40F-4A2B-B71A-711D392B5A84}" destId="{528156B2-647C-44D5-ABAD-EBDCDF85B348}" srcOrd="2" destOrd="0" presId="urn:microsoft.com/office/officeart/2005/8/layout/orgChart1"/>
    <dgm:cxn modelId="{A3328E3F-05F3-4A26-937C-6792E5E73BB9}" type="presParOf" srcId="{EC72B6B4-B63E-4FE2-8CC2-5FA221770366}" destId="{B562ECC0-9994-4B01-9E77-D5C13C496118}" srcOrd="6" destOrd="0" presId="urn:microsoft.com/office/officeart/2005/8/layout/orgChart1"/>
    <dgm:cxn modelId="{B80ACEED-3304-4858-8224-7B792AD2B65C}" type="presParOf" srcId="{EC72B6B4-B63E-4FE2-8CC2-5FA221770366}" destId="{E18799E9-9DA7-423F-B7B3-369EFE76B3B6}" srcOrd="7" destOrd="0" presId="urn:microsoft.com/office/officeart/2005/8/layout/orgChart1"/>
    <dgm:cxn modelId="{9AE65618-5611-4E70-A8E2-DDF55D75B204}" type="presParOf" srcId="{E18799E9-9DA7-423F-B7B3-369EFE76B3B6}" destId="{354F8417-6C70-4131-8450-E52EDD2EFA17}" srcOrd="0" destOrd="0" presId="urn:microsoft.com/office/officeart/2005/8/layout/orgChart1"/>
    <dgm:cxn modelId="{4B21E6E3-43BF-4BAF-8E85-72CE056E6BB9}" type="presParOf" srcId="{354F8417-6C70-4131-8450-E52EDD2EFA17}" destId="{67A44139-B3F0-4118-89E8-A44A0D503C36}" srcOrd="0" destOrd="0" presId="urn:microsoft.com/office/officeart/2005/8/layout/orgChart1"/>
    <dgm:cxn modelId="{1D2E685F-DE0D-4CFB-8A6D-0223B672357C}" type="presParOf" srcId="{354F8417-6C70-4131-8450-E52EDD2EFA17}" destId="{B2267437-59D9-4F70-9854-AF295901641A}" srcOrd="1" destOrd="0" presId="urn:microsoft.com/office/officeart/2005/8/layout/orgChart1"/>
    <dgm:cxn modelId="{8905EAC1-1351-4BAF-9489-F06A9AC88989}" type="presParOf" srcId="{E18799E9-9DA7-423F-B7B3-369EFE76B3B6}" destId="{A6AF8EE9-DBFC-447B-8940-E76A065FD97B}" srcOrd="1" destOrd="0" presId="urn:microsoft.com/office/officeart/2005/8/layout/orgChart1"/>
    <dgm:cxn modelId="{86F7F907-33A7-40D2-92C7-7481122C3859}" type="presParOf" srcId="{A6AF8EE9-DBFC-447B-8940-E76A065FD97B}" destId="{2BC6CEE4-3F67-4FA6-8639-65EC4CCFF4D9}" srcOrd="0" destOrd="0" presId="urn:microsoft.com/office/officeart/2005/8/layout/orgChart1"/>
    <dgm:cxn modelId="{FE3DDA98-FCDA-4F03-A978-0524B0E97885}" type="presParOf" srcId="{A6AF8EE9-DBFC-447B-8940-E76A065FD97B}" destId="{56EAD692-CF12-4F08-9E91-48B2A708FB71}" srcOrd="1" destOrd="0" presId="urn:microsoft.com/office/officeart/2005/8/layout/orgChart1"/>
    <dgm:cxn modelId="{4343D6AE-B156-496C-9804-4E7248AF3E12}" type="presParOf" srcId="{56EAD692-CF12-4F08-9E91-48B2A708FB71}" destId="{17485795-B1F1-44AB-A6F9-533EF86E010F}" srcOrd="0" destOrd="0" presId="urn:microsoft.com/office/officeart/2005/8/layout/orgChart1"/>
    <dgm:cxn modelId="{0E18104F-FC7B-4C8F-974D-38C51F360F45}" type="presParOf" srcId="{17485795-B1F1-44AB-A6F9-533EF86E010F}" destId="{1B4F947A-69EB-46FF-A1EA-7664283D213E}" srcOrd="0" destOrd="0" presId="urn:microsoft.com/office/officeart/2005/8/layout/orgChart1"/>
    <dgm:cxn modelId="{F75BD75C-3801-4686-8A38-A47B8E8D8A2E}" type="presParOf" srcId="{17485795-B1F1-44AB-A6F9-533EF86E010F}" destId="{C553D0C6-AEE4-4F65-8DAC-62449D94D6A7}" srcOrd="1" destOrd="0" presId="urn:microsoft.com/office/officeart/2005/8/layout/orgChart1"/>
    <dgm:cxn modelId="{6C879BFC-62DF-4269-8040-D75E6A123D95}" type="presParOf" srcId="{56EAD692-CF12-4F08-9E91-48B2A708FB71}" destId="{704B6FE3-1A93-464C-BD7D-26786EA03069}" srcOrd="1" destOrd="0" presId="urn:microsoft.com/office/officeart/2005/8/layout/orgChart1"/>
    <dgm:cxn modelId="{441519C5-53A0-4836-AEC3-10FD771C25C5}" type="presParOf" srcId="{56EAD692-CF12-4F08-9E91-48B2A708FB71}" destId="{DA9CB0A7-0D84-4FCC-8CAA-C663566F179D}" srcOrd="2" destOrd="0" presId="urn:microsoft.com/office/officeart/2005/8/layout/orgChart1"/>
    <dgm:cxn modelId="{ABB06789-FDA3-4A13-9A29-4E9F87284D5A}" type="presParOf" srcId="{A6AF8EE9-DBFC-447B-8940-E76A065FD97B}" destId="{981682D2-6375-4500-994F-C7CC83594561}" srcOrd="2" destOrd="0" presId="urn:microsoft.com/office/officeart/2005/8/layout/orgChart1"/>
    <dgm:cxn modelId="{03379E00-38D2-4A64-A397-67703019F813}" type="presParOf" srcId="{A6AF8EE9-DBFC-447B-8940-E76A065FD97B}" destId="{5AD24796-DC78-4C67-B9F3-06DC4CB79087}" srcOrd="3" destOrd="0" presId="urn:microsoft.com/office/officeart/2005/8/layout/orgChart1"/>
    <dgm:cxn modelId="{48CAE950-C2EF-4B4B-AEE3-FE1F28CF19A6}" type="presParOf" srcId="{5AD24796-DC78-4C67-B9F3-06DC4CB79087}" destId="{0E2F19BE-3966-4520-8470-5F47706807ED}" srcOrd="0" destOrd="0" presId="urn:microsoft.com/office/officeart/2005/8/layout/orgChart1"/>
    <dgm:cxn modelId="{D7B8D833-DA4D-4CC9-B2E3-730A347E267E}" type="presParOf" srcId="{0E2F19BE-3966-4520-8470-5F47706807ED}" destId="{78B1DB83-1FBB-4B72-AADA-6CBB1DAEF356}" srcOrd="0" destOrd="0" presId="urn:microsoft.com/office/officeart/2005/8/layout/orgChart1"/>
    <dgm:cxn modelId="{B2F070F2-3F99-46D5-9D10-B9D280195134}" type="presParOf" srcId="{0E2F19BE-3966-4520-8470-5F47706807ED}" destId="{BB23809A-293F-4A54-B283-6C2D984F118D}" srcOrd="1" destOrd="0" presId="urn:microsoft.com/office/officeart/2005/8/layout/orgChart1"/>
    <dgm:cxn modelId="{C3436391-12B4-4814-AE2A-C8C10A1BEADA}" type="presParOf" srcId="{5AD24796-DC78-4C67-B9F3-06DC4CB79087}" destId="{9F248D76-C2BC-4060-8C04-B530C444F409}" srcOrd="1" destOrd="0" presId="urn:microsoft.com/office/officeart/2005/8/layout/orgChart1"/>
    <dgm:cxn modelId="{C1409DBC-6BC3-4CD3-8598-BACC1B066CFA}" type="presParOf" srcId="{9F248D76-C2BC-4060-8C04-B530C444F409}" destId="{AD70828E-DDD4-480C-BDFF-1E596F6615D1}" srcOrd="0" destOrd="0" presId="urn:microsoft.com/office/officeart/2005/8/layout/orgChart1"/>
    <dgm:cxn modelId="{B3897338-9655-40D3-A4DE-1F9B35EFE624}" type="presParOf" srcId="{9F248D76-C2BC-4060-8C04-B530C444F409}" destId="{147EF30B-BA3D-4473-9AD2-CC7014F27C11}" srcOrd="1" destOrd="0" presId="urn:microsoft.com/office/officeart/2005/8/layout/orgChart1"/>
    <dgm:cxn modelId="{B80F5402-CF84-46F8-9090-BF5EF94F6604}" type="presParOf" srcId="{147EF30B-BA3D-4473-9AD2-CC7014F27C11}" destId="{77306BB1-6CDB-40C5-85B1-4980890A9206}" srcOrd="0" destOrd="0" presId="urn:microsoft.com/office/officeart/2005/8/layout/orgChart1"/>
    <dgm:cxn modelId="{E431F3F0-1585-4E67-BADB-6FA349410DAA}" type="presParOf" srcId="{77306BB1-6CDB-40C5-85B1-4980890A9206}" destId="{43C79B55-7800-4403-B3B4-49E5363FFF1E}" srcOrd="0" destOrd="0" presId="urn:microsoft.com/office/officeart/2005/8/layout/orgChart1"/>
    <dgm:cxn modelId="{E61CA239-45BF-43A6-901E-1A7246ACEF64}" type="presParOf" srcId="{77306BB1-6CDB-40C5-85B1-4980890A9206}" destId="{FD009694-C9A9-4545-B9B4-AE343C4C6314}" srcOrd="1" destOrd="0" presId="urn:microsoft.com/office/officeart/2005/8/layout/orgChart1"/>
    <dgm:cxn modelId="{A49144F3-25D3-44B0-B790-C10DDA2110C4}" type="presParOf" srcId="{147EF30B-BA3D-4473-9AD2-CC7014F27C11}" destId="{E7CAB4B1-64D6-4507-9B2D-46604CB6848C}" srcOrd="1" destOrd="0" presId="urn:microsoft.com/office/officeart/2005/8/layout/orgChart1"/>
    <dgm:cxn modelId="{E25A9B1A-73EB-4A4F-9D41-C21A48B20912}" type="presParOf" srcId="{147EF30B-BA3D-4473-9AD2-CC7014F27C11}" destId="{283463B1-15A6-4BEF-B96E-DE2502D9F6DF}" srcOrd="2" destOrd="0" presId="urn:microsoft.com/office/officeart/2005/8/layout/orgChart1"/>
    <dgm:cxn modelId="{D8490F6E-A4E2-401D-8FCF-CA2DB53A0D51}" type="presParOf" srcId="{5AD24796-DC78-4C67-B9F3-06DC4CB79087}" destId="{6105CD00-5C50-452A-994E-5B0FFFC4DA91}" srcOrd="2" destOrd="0" presId="urn:microsoft.com/office/officeart/2005/8/layout/orgChart1"/>
    <dgm:cxn modelId="{45933E6D-5FA0-4FF0-8F78-3303E49EDE2B}" type="presParOf" srcId="{E18799E9-9DA7-423F-B7B3-369EFE76B3B6}" destId="{430C728D-004C-49FD-A0C1-71CD6E772786}" srcOrd="2" destOrd="0" presId="urn:microsoft.com/office/officeart/2005/8/layout/orgChart1"/>
    <dgm:cxn modelId="{9160DFC3-F3DF-4AD1-8F5B-1DCE903269A0}" type="presParOf" srcId="{25A00B3E-FEA8-439F-999E-8DB6BC95DBC0}" destId="{B87F60ED-85BE-4872-BA6E-CDCB9CBDC6A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26E1133-27F8-42A1-91FE-23383B9ACC99}" type="doc">
      <dgm:prSet loTypeId="urn:microsoft.com/office/officeart/2005/8/layout/orgChart1" loCatId="hierarchy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3BDC9E6-B3ED-4E11-B81F-A36F96CA06AD}">
      <dgm:prSet custT="1"/>
      <dgm:spPr/>
      <dgm:t>
        <a:bodyPr/>
        <a:lstStyle/>
        <a:p>
          <a:pPr rtl="0"/>
          <a:r>
            <a:rPr lang="en-US" sz="1800" dirty="0" smtClean="0"/>
            <a:t>Testability</a:t>
          </a:r>
          <a:endParaRPr lang="en-US" sz="1800" dirty="0"/>
        </a:p>
      </dgm:t>
    </dgm:pt>
    <dgm:pt modelId="{818B4425-229C-4D05-BD73-F2583AB7B9C5}" type="parTrans" cxnId="{E040E2E2-F016-4F82-9927-EA3D62DA0F57}">
      <dgm:prSet/>
      <dgm:spPr/>
      <dgm:t>
        <a:bodyPr/>
        <a:lstStyle/>
        <a:p>
          <a:endParaRPr lang="en-US" sz="3600"/>
        </a:p>
      </dgm:t>
    </dgm:pt>
    <dgm:pt modelId="{A3D2AA9D-1D2C-45CA-9A99-0FD9E343747F}" type="sibTrans" cxnId="{E040E2E2-F016-4F82-9927-EA3D62DA0F57}">
      <dgm:prSet/>
      <dgm:spPr/>
      <dgm:t>
        <a:bodyPr/>
        <a:lstStyle/>
        <a:p>
          <a:endParaRPr lang="en-US" sz="3600"/>
        </a:p>
      </dgm:t>
    </dgm:pt>
    <dgm:pt modelId="{843E3B21-DC9F-4CF8-A7F1-93BF704E47A7}">
      <dgm:prSet custT="1"/>
      <dgm:spPr/>
      <dgm:t>
        <a:bodyPr/>
        <a:lstStyle/>
        <a:p>
          <a:pPr rtl="0"/>
          <a:r>
            <a:rPr lang="en-US" sz="1600" dirty="0" smtClean="0"/>
            <a:t>Manage controllability and </a:t>
          </a:r>
          <a:r>
            <a:rPr lang="en-US" sz="1600" dirty="0" err="1" smtClean="0"/>
            <a:t>Observability</a:t>
          </a:r>
          <a:endParaRPr lang="en-US" sz="1600" dirty="0"/>
        </a:p>
      </dgm:t>
    </dgm:pt>
    <dgm:pt modelId="{3EEFE082-C4FA-499A-BA01-E4B8217A4B73}" type="parTrans" cxnId="{3C110BFF-FD87-473E-9985-0D9D761E60BD}">
      <dgm:prSet/>
      <dgm:spPr/>
      <dgm:t>
        <a:bodyPr/>
        <a:lstStyle/>
        <a:p>
          <a:endParaRPr lang="en-US" sz="3600"/>
        </a:p>
      </dgm:t>
    </dgm:pt>
    <dgm:pt modelId="{2992CB8F-FBF4-486F-BE86-7AEC96D28238}" type="sibTrans" cxnId="{3C110BFF-FD87-473E-9985-0D9D761E60BD}">
      <dgm:prSet/>
      <dgm:spPr/>
      <dgm:t>
        <a:bodyPr/>
        <a:lstStyle/>
        <a:p>
          <a:endParaRPr lang="en-US" sz="3600"/>
        </a:p>
      </dgm:t>
    </dgm:pt>
    <dgm:pt modelId="{A240A1E1-162D-4A6E-A806-B6FF45B3AB68}">
      <dgm:prSet custT="1"/>
      <dgm:spPr/>
      <dgm:t>
        <a:bodyPr/>
        <a:lstStyle/>
        <a:p>
          <a:pPr rtl="0"/>
          <a:r>
            <a:rPr lang="en-US" sz="1600" dirty="0" smtClean="0"/>
            <a:t>Limit Structural complexity</a:t>
          </a:r>
          <a:endParaRPr lang="en-US" sz="1600" dirty="0"/>
        </a:p>
      </dgm:t>
    </dgm:pt>
    <dgm:pt modelId="{F0BD47AB-7AC9-40A2-A96D-1A911EFDE7FF}" type="parTrans" cxnId="{CCB5AE26-70F4-4C5B-B53D-136E39A12AC5}">
      <dgm:prSet/>
      <dgm:spPr/>
      <dgm:t>
        <a:bodyPr/>
        <a:lstStyle/>
        <a:p>
          <a:endParaRPr lang="en-US" sz="3600"/>
        </a:p>
      </dgm:t>
    </dgm:pt>
    <dgm:pt modelId="{A12D77FB-8453-4F78-A007-65AD68966259}" type="sibTrans" cxnId="{CCB5AE26-70F4-4C5B-B53D-136E39A12AC5}">
      <dgm:prSet/>
      <dgm:spPr/>
      <dgm:t>
        <a:bodyPr/>
        <a:lstStyle/>
        <a:p>
          <a:endParaRPr lang="en-US" sz="3600"/>
        </a:p>
      </dgm:t>
    </dgm:pt>
    <dgm:pt modelId="{E420C67E-C4C2-476B-9B47-FFB47D587009}">
      <dgm:prSet custT="1"/>
      <dgm:spPr/>
      <dgm:t>
        <a:bodyPr/>
        <a:lstStyle/>
        <a:p>
          <a:pPr rtl="0"/>
          <a:r>
            <a:rPr lang="en-US" sz="1600" dirty="0" smtClean="0"/>
            <a:t>Internal Monitoring</a:t>
          </a:r>
          <a:endParaRPr lang="en-US" sz="1600" dirty="0"/>
        </a:p>
      </dgm:t>
    </dgm:pt>
    <dgm:pt modelId="{65D088B7-B36E-49AA-84B9-2BC51B326EA1}" type="parTrans" cxnId="{2AC6A1A2-FDAF-4C07-BF93-78DC05214544}">
      <dgm:prSet/>
      <dgm:spPr/>
      <dgm:t>
        <a:bodyPr/>
        <a:lstStyle/>
        <a:p>
          <a:endParaRPr lang="en-US" sz="3600"/>
        </a:p>
      </dgm:t>
    </dgm:pt>
    <dgm:pt modelId="{7CC715FB-928E-4CFE-A8F5-045F16B2D743}" type="sibTrans" cxnId="{2AC6A1A2-FDAF-4C07-BF93-78DC05214544}">
      <dgm:prSet/>
      <dgm:spPr/>
      <dgm:t>
        <a:bodyPr/>
        <a:lstStyle/>
        <a:p>
          <a:endParaRPr lang="en-US" sz="3600"/>
        </a:p>
      </dgm:t>
    </dgm:pt>
    <dgm:pt modelId="{1CE2D78B-C788-472A-8424-7F9A4AB5205E}">
      <dgm:prSet custT="1"/>
      <dgm:spPr/>
      <dgm:t>
        <a:bodyPr/>
        <a:lstStyle/>
        <a:p>
          <a:pPr rtl="0"/>
          <a:r>
            <a:rPr lang="en-US" sz="1600" dirty="0" smtClean="0"/>
            <a:t>Manage Complexity</a:t>
          </a:r>
          <a:endParaRPr lang="en-US" sz="1600" dirty="0"/>
        </a:p>
      </dgm:t>
    </dgm:pt>
    <dgm:pt modelId="{6ED4E1AA-EFDD-4E70-836E-3DB36084DE98}" type="parTrans" cxnId="{0D252A7C-EA88-478B-9AB7-96B65AE1E68A}">
      <dgm:prSet/>
      <dgm:spPr/>
      <dgm:t>
        <a:bodyPr/>
        <a:lstStyle/>
        <a:p>
          <a:endParaRPr lang="en-US" sz="3600"/>
        </a:p>
      </dgm:t>
    </dgm:pt>
    <dgm:pt modelId="{1D0F051B-C9A8-457A-BE08-985EF4C28172}" type="sibTrans" cxnId="{0D252A7C-EA88-478B-9AB7-96B65AE1E68A}">
      <dgm:prSet/>
      <dgm:spPr/>
      <dgm:t>
        <a:bodyPr/>
        <a:lstStyle/>
        <a:p>
          <a:endParaRPr lang="en-US" sz="3600"/>
        </a:p>
      </dgm:t>
    </dgm:pt>
    <dgm:pt modelId="{35016019-1F0E-47A9-A9CB-AE98C0AFCFC1}">
      <dgm:prSet custT="1"/>
      <dgm:spPr/>
      <dgm:t>
        <a:bodyPr/>
        <a:lstStyle/>
        <a:p>
          <a:pPr rtl="0"/>
          <a:r>
            <a:rPr lang="en-US" sz="1600" dirty="0" smtClean="0"/>
            <a:t>Limit non-determinism</a:t>
          </a:r>
          <a:endParaRPr lang="en-US" sz="1600" dirty="0"/>
        </a:p>
      </dgm:t>
    </dgm:pt>
    <dgm:pt modelId="{A60BCA66-49BB-4275-9110-8B471B3FC59B}" type="parTrans" cxnId="{F0C0AED6-3BFB-430A-84C4-C1842ECA49F1}">
      <dgm:prSet/>
      <dgm:spPr/>
      <dgm:t>
        <a:bodyPr/>
        <a:lstStyle/>
        <a:p>
          <a:endParaRPr lang="en-US" sz="3600"/>
        </a:p>
      </dgm:t>
    </dgm:pt>
    <dgm:pt modelId="{549EC933-326F-43C6-A4AD-B0C6604A5CF9}" type="sibTrans" cxnId="{F0C0AED6-3BFB-430A-84C4-C1842ECA49F1}">
      <dgm:prSet/>
      <dgm:spPr/>
      <dgm:t>
        <a:bodyPr/>
        <a:lstStyle/>
        <a:p>
          <a:endParaRPr lang="en-US" sz="3600"/>
        </a:p>
      </dgm:t>
    </dgm:pt>
    <dgm:pt modelId="{0216D3CF-84E5-4443-8082-6C6C297E9A4D}">
      <dgm:prSet custT="1"/>
      <dgm:spPr/>
      <dgm:t>
        <a:bodyPr/>
        <a:lstStyle/>
        <a:p>
          <a:pPr rtl="0"/>
          <a:r>
            <a:rPr lang="en-US" sz="1600" dirty="0" smtClean="0"/>
            <a:t>Introduce built-in monitor in the system</a:t>
          </a:r>
          <a:endParaRPr lang="en-US" sz="1600" dirty="0"/>
        </a:p>
      </dgm:t>
    </dgm:pt>
    <dgm:pt modelId="{C3334397-F4C9-43FD-9DE7-786437A51BF8}" type="parTrans" cxnId="{EF17C288-FABF-470A-9F6E-6F1AC60C08BE}">
      <dgm:prSet/>
      <dgm:spPr/>
      <dgm:t>
        <a:bodyPr/>
        <a:lstStyle/>
        <a:p>
          <a:endParaRPr lang="en-US" sz="3600"/>
        </a:p>
      </dgm:t>
    </dgm:pt>
    <dgm:pt modelId="{9C27E3D0-AEBB-4C4C-AFEA-8F9AF608B21E}" type="sibTrans" cxnId="{EF17C288-FABF-470A-9F6E-6F1AC60C08BE}">
      <dgm:prSet/>
      <dgm:spPr/>
      <dgm:t>
        <a:bodyPr/>
        <a:lstStyle/>
        <a:p>
          <a:endParaRPr lang="en-US" sz="3600"/>
        </a:p>
      </dgm:t>
    </dgm:pt>
    <dgm:pt modelId="{720AE7B9-47AD-4FF9-8447-DF1B8C5FD193}">
      <dgm:prSet custT="1"/>
      <dgm:spPr/>
      <dgm:t>
        <a:bodyPr/>
        <a:lstStyle/>
        <a:p>
          <a:pPr rtl="0"/>
          <a:r>
            <a:rPr lang="en-US" sz="1600" dirty="0" smtClean="0"/>
            <a:t>Record and playback</a:t>
          </a:r>
          <a:endParaRPr lang="en-US" sz="1600" dirty="0"/>
        </a:p>
      </dgm:t>
    </dgm:pt>
    <dgm:pt modelId="{3722DDF4-26E2-4422-A516-DEEAC3ECF65B}" type="parTrans" cxnId="{C7B12242-93F1-42B1-8149-73B2BE7E9DC0}">
      <dgm:prSet/>
      <dgm:spPr/>
      <dgm:t>
        <a:bodyPr/>
        <a:lstStyle/>
        <a:p>
          <a:endParaRPr lang="en-US" sz="3600"/>
        </a:p>
      </dgm:t>
    </dgm:pt>
    <dgm:pt modelId="{D7F902F3-F976-415B-98C3-59057320C539}" type="sibTrans" cxnId="{C7B12242-93F1-42B1-8149-73B2BE7E9DC0}">
      <dgm:prSet/>
      <dgm:spPr/>
      <dgm:t>
        <a:bodyPr/>
        <a:lstStyle/>
        <a:p>
          <a:endParaRPr lang="en-US" sz="3600"/>
        </a:p>
      </dgm:t>
    </dgm:pt>
    <dgm:pt modelId="{7D7C3FA2-CE75-4B7D-A218-416906B8D917}">
      <dgm:prSet custT="1"/>
      <dgm:spPr/>
      <dgm:t>
        <a:bodyPr/>
        <a:lstStyle/>
        <a:p>
          <a:pPr rtl="0"/>
          <a:r>
            <a:rPr lang="en-US" sz="1600" dirty="0" smtClean="0"/>
            <a:t>Specialized Interface</a:t>
          </a:r>
          <a:endParaRPr lang="en-US" sz="1600" dirty="0"/>
        </a:p>
      </dgm:t>
    </dgm:pt>
    <dgm:pt modelId="{14236E25-24F5-4DBC-8E23-FED5A30DEF0E}" type="parTrans" cxnId="{2648CEB6-4DB9-42A6-B700-4831395E15AC}">
      <dgm:prSet/>
      <dgm:spPr/>
      <dgm:t>
        <a:bodyPr/>
        <a:lstStyle/>
        <a:p>
          <a:endParaRPr lang="en-US" sz="3600"/>
        </a:p>
      </dgm:t>
    </dgm:pt>
    <dgm:pt modelId="{FB40D391-DB77-4C2C-BDCE-7A207CEAE6FE}" type="sibTrans" cxnId="{2648CEB6-4DB9-42A6-B700-4831395E15AC}">
      <dgm:prSet/>
      <dgm:spPr/>
      <dgm:t>
        <a:bodyPr/>
        <a:lstStyle/>
        <a:p>
          <a:endParaRPr lang="en-US" sz="3600"/>
        </a:p>
      </dgm:t>
    </dgm:pt>
    <dgm:pt modelId="{9B931718-FC68-4B2E-9854-492BCFE6FE83}">
      <dgm:prSet custT="1"/>
      <dgm:spPr/>
      <dgm:t>
        <a:bodyPr/>
        <a:lstStyle/>
        <a:p>
          <a:pPr rtl="0"/>
          <a:r>
            <a:rPr lang="en-US" sz="1600" dirty="0" smtClean="0"/>
            <a:t>Separate interface and implementation</a:t>
          </a:r>
          <a:endParaRPr lang="en-US" sz="1600" dirty="0"/>
        </a:p>
      </dgm:t>
    </dgm:pt>
    <dgm:pt modelId="{359E2506-5D19-4F9C-8688-C666576175A9}" type="parTrans" cxnId="{6E2E3B55-A6EB-46D7-B7D0-04629FD4C800}">
      <dgm:prSet/>
      <dgm:spPr/>
      <dgm:t>
        <a:bodyPr/>
        <a:lstStyle/>
        <a:p>
          <a:endParaRPr lang="en-US" sz="3600"/>
        </a:p>
      </dgm:t>
    </dgm:pt>
    <dgm:pt modelId="{3113A228-1208-4305-91A0-AEEDFF54B5B2}" type="sibTrans" cxnId="{6E2E3B55-A6EB-46D7-B7D0-04629FD4C800}">
      <dgm:prSet/>
      <dgm:spPr/>
      <dgm:t>
        <a:bodyPr/>
        <a:lstStyle/>
        <a:p>
          <a:endParaRPr lang="en-US" sz="3600"/>
        </a:p>
      </dgm:t>
    </dgm:pt>
    <dgm:pt modelId="{0B5A8C4E-0287-4775-89CD-4F33BAC9506F}">
      <dgm:prSet custT="1"/>
      <dgm:spPr/>
      <dgm:t>
        <a:bodyPr/>
        <a:lstStyle/>
        <a:p>
          <a:pPr rtl="0"/>
          <a:r>
            <a:rPr lang="en-US" sz="1600" dirty="0" smtClean="0"/>
            <a:t>Executable assertion</a:t>
          </a:r>
          <a:endParaRPr lang="en-US" sz="1600" dirty="0"/>
        </a:p>
      </dgm:t>
    </dgm:pt>
    <dgm:pt modelId="{EF032B47-594B-4FE2-82AA-11F85DCB3B05}" type="parTrans" cxnId="{BF0DC91D-EC32-48A1-86C8-FAB69550103E}">
      <dgm:prSet/>
      <dgm:spPr/>
      <dgm:t>
        <a:bodyPr/>
        <a:lstStyle/>
        <a:p>
          <a:endParaRPr lang="en-US" sz="3600"/>
        </a:p>
      </dgm:t>
    </dgm:pt>
    <dgm:pt modelId="{54EDCA25-2AA2-4C65-8635-EE0E2A7EF78B}" type="sibTrans" cxnId="{BF0DC91D-EC32-48A1-86C8-FAB69550103E}">
      <dgm:prSet/>
      <dgm:spPr/>
      <dgm:t>
        <a:bodyPr/>
        <a:lstStyle/>
        <a:p>
          <a:endParaRPr lang="en-US" sz="3600"/>
        </a:p>
      </dgm:t>
    </dgm:pt>
    <dgm:pt modelId="{952DAF52-AE68-4172-A6FB-BEC966E0D344}">
      <dgm:prSet custT="1"/>
      <dgm:spPr/>
      <dgm:t>
        <a:bodyPr/>
        <a:lstStyle/>
        <a:p>
          <a:pPr rtl="0"/>
          <a:r>
            <a:rPr lang="en-US" sz="1600" dirty="0" smtClean="0"/>
            <a:t>Localize data store</a:t>
          </a:r>
          <a:endParaRPr lang="en-US" sz="1600" dirty="0"/>
        </a:p>
      </dgm:t>
    </dgm:pt>
    <dgm:pt modelId="{E5A2EAE4-118D-44B2-B409-8CEB91FA5E76}" type="parTrans" cxnId="{0A4F78ED-994E-4775-9792-4F8AFB843E13}">
      <dgm:prSet/>
      <dgm:spPr/>
      <dgm:t>
        <a:bodyPr/>
        <a:lstStyle/>
        <a:p>
          <a:endParaRPr lang="en-US" sz="3600"/>
        </a:p>
      </dgm:t>
    </dgm:pt>
    <dgm:pt modelId="{9F184476-99DB-4158-BA52-C9F0136CB0E4}" type="sibTrans" cxnId="{0A4F78ED-994E-4775-9792-4F8AFB843E13}">
      <dgm:prSet/>
      <dgm:spPr/>
      <dgm:t>
        <a:bodyPr/>
        <a:lstStyle/>
        <a:p>
          <a:endParaRPr lang="en-US" sz="3600"/>
        </a:p>
      </dgm:t>
    </dgm:pt>
    <dgm:pt modelId="{5AFDEC37-303D-4C39-871D-86C74E419A23}">
      <dgm:prSet custT="1"/>
      <dgm:spPr/>
      <dgm:t>
        <a:bodyPr/>
        <a:lstStyle/>
        <a:p>
          <a:pPr rtl="0"/>
          <a:r>
            <a:rPr lang="en-US" sz="1600" dirty="0" smtClean="0"/>
            <a:t>Sandbox</a:t>
          </a:r>
          <a:endParaRPr lang="en-US" sz="1600" dirty="0"/>
        </a:p>
      </dgm:t>
    </dgm:pt>
    <dgm:pt modelId="{38271EC2-1F65-43B3-87B0-6BB11652BC0F}" type="parTrans" cxnId="{C3A4E08C-0B25-4A04-8AD3-550D4D86E432}">
      <dgm:prSet/>
      <dgm:spPr/>
      <dgm:t>
        <a:bodyPr/>
        <a:lstStyle/>
        <a:p>
          <a:endParaRPr lang="en-US" sz="3600"/>
        </a:p>
      </dgm:t>
    </dgm:pt>
    <dgm:pt modelId="{157849EC-686C-46C2-98FE-E58DF03FCC11}" type="sibTrans" cxnId="{C3A4E08C-0B25-4A04-8AD3-550D4D86E432}">
      <dgm:prSet/>
      <dgm:spPr/>
      <dgm:t>
        <a:bodyPr/>
        <a:lstStyle/>
        <a:p>
          <a:endParaRPr lang="en-US" sz="3600"/>
        </a:p>
      </dgm:t>
    </dgm:pt>
    <dgm:pt modelId="{E9F5810C-05C5-4937-8779-609DD6BD5CFD}" type="pres">
      <dgm:prSet presAssocID="{A26E1133-27F8-42A1-91FE-23383B9ACC9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5A00B3E-FEA8-439F-999E-8DB6BC95DBC0}" type="pres">
      <dgm:prSet presAssocID="{43BDC9E6-B3ED-4E11-B81F-A36F96CA06AD}" presName="hierRoot1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305CB9B7-E4C6-453D-AC39-1DA3FA25C576}" type="pres">
      <dgm:prSet presAssocID="{43BDC9E6-B3ED-4E11-B81F-A36F96CA06AD}" presName="rootComposite1" presStyleCnt="0"/>
      <dgm:spPr/>
      <dgm:t>
        <a:bodyPr/>
        <a:lstStyle/>
        <a:p>
          <a:endParaRPr lang="en-US"/>
        </a:p>
      </dgm:t>
    </dgm:pt>
    <dgm:pt modelId="{1AD90FEA-3135-49C2-A3C0-CFEDDC6405B3}" type="pres">
      <dgm:prSet presAssocID="{43BDC9E6-B3ED-4E11-B81F-A36F96CA06AD}" presName="rootText1" presStyleLbl="node0" presStyleIdx="0" presStyleCnt="1" custScaleX="13224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86BC6-06CE-4768-9942-F4420543D5EE}" type="pres">
      <dgm:prSet presAssocID="{43BDC9E6-B3ED-4E11-B81F-A36F96CA06A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C72B6B4-B63E-4FE2-8CC2-5FA221770366}" type="pres">
      <dgm:prSet presAssocID="{43BDC9E6-B3ED-4E11-B81F-A36F96CA06AD}" presName="hierChild2" presStyleCnt="0"/>
      <dgm:spPr/>
      <dgm:t>
        <a:bodyPr/>
        <a:lstStyle/>
        <a:p>
          <a:endParaRPr lang="en-US"/>
        </a:p>
      </dgm:t>
    </dgm:pt>
    <dgm:pt modelId="{A3BC68A0-CABF-4126-884C-C90818E1E26E}" type="pres">
      <dgm:prSet presAssocID="{3EEFE082-C4FA-499A-BA01-E4B8217A4B73}" presName="Name37" presStyleLbl="parChTrans1D2" presStyleIdx="0" presStyleCnt="3"/>
      <dgm:spPr/>
      <dgm:t>
        <a:bodyPr/>
        <a:lstStyle/>
        <a:p>
          <a:endParaRPr lang="en-US"/>
        </a:p>
      </dgm:t>
    </dgm:pt>
    <dgm:pt modelId="{9B84C5AA-6259-445A-8F7A-6D366FCBB4AD}" type="pres">
      <dgm:prSet presAssocID="{843E3B21-DC9F-4CF8-A7F1-93BF704E47A7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F324FB99-E565-440D-9319-A2867DA87756}" type="pres">
      <dgm:prSet presAssocID="{843E3B21-DC9F-4CF8-A7F1-93BF704E47A7}" presName="rootComposite" presStyleCnt="0"/>
      <dgm:spPr/>
      <dgm:t>
        <a:bodyPr/>
        <a:lstStyle/>
        <a:p>
          <a:endParaRPr lang="en-US"/>
        </a:p>
      </dgm:t>
    </dgm:pt>
    <dgm:pt modelId="{5E5C4910-D5C2-4117-9825-0F4E2308A1D4}" type="pres">
      <dgm:prSet presAssocID="{843E3B21-DC9F-4CF8-A7F1-93BF704E47A7}" presName="rootText" presStyleLbl="node2" presStyleIdx="0" presStyleCnt="3" custScaleX="194214" custScaleY="161523" custLinFactX="-100000" custLinFactNeighborX="-116957" custLinFactNeighborY="454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B22B6A5-BFAD-4E5F-BED0-C002FA69FEEF}" type="pres">
      <dgm:prSet presAssocID="{843E3B21-DC9F-4CF8-A7F1-93BF704E47A7}" presName="rootConnector" presStyleLbl="node2" presStyleIdx="0" presStyleCnt="3"/>
      <dgm:spPr/>
      <dgm:t>
        <a:bodyPr/>
        <a:lstStyle/>
        <a:p>
          <a:endParaRPr lang="en-US"/>
        </a:p>
      </dgm:t>
    </dgm:pt>
    <dgm:pt modelId="{16186025-4BC6-46E2-97F6-F9084F02632D}" type="pres">
      <dgm:prSet presAssocID="{843E3B21-DC9F-4CF8-A7F1-93BF704E47A7}" presName="hierChild4" presStyleCnt="0"/>
      <dgm:spPr/>
      <dgm:t>
        <a:bodyPr/>
        <a:lstStyle/>
        <a:p>
          <a:endParaRPr lang="en-US"/>
        </a:p>
      </dgm:t>
    </dgm:pt>
    <dgm:pt modelId="{A83ED5F7-10A0-45C9-B814-5804FA76917E}" type="pres">
      <dgm:prSet presAssocID="{3722DDF4-26E2-4422-A516-DEEAC3ECF65B}" presName="Name37" presStyleLbl="parChTrans1D3" presStyleIdx="0" presStyleCnt="9"/>
      <dgm:spPr/>
      <dgm:t>
        <a:bodyPr/>
        <a:lstStyle/>
        <a:p>
          <a:endParaRPr lang="en-US"/>
        </a:p>
      </dgm:t>
    </dgm:pt>
    <dgm:pt modelId="{D44CFE56-6231-4D51-BDF4-F9842887D455}" type="pres">
      <dgm:prSet presAssocID="{720AE7B9-47AD-4FF9-8447-DF1B8C5FD193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F340CB26-8421-44AC-9592-9BB7E87D96B8}" type="pres">
      <dgm:prSet presAssocID="{720AE7B9-47AD-4FF9-8447-DF1B8C5FD193}" presName="rootComposite" presStyleCnt="0"/>
      <dgm:spPr/>
      <dgm:t>
        <a:bodyPr/>
        <a:lstStyle/>
        <a:p>
          <a:endParaRPr lang="en-US"/>
        </a:p>
      </dgm:t>
    </dgm:pt>
    <dgm:pt modelId="{1064D61A-5C37-497D-A6F5-6312AB6E3F5A}" type="pres">
      <dgm:prSet presAssocID="{720AE7B9-47AD-4FF9-8447-DF1B8C5FD193}" presName="rootText" presStyleLbl="node3" presStyleIdx="0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D0BA542-EABF-46D4-A11D-8954A50A4A27}" type="pres">
      <dgm:prSet presAssocID="{720AE7B9-47AD-4FF9-8447-DF1B8C5FD193}" presName="rootConnector" presStyleLbl="node3" presStyleIdx="0" presStyleCnt="9"/>
      <dgm:spPr/>
      <dgm:t>
        <a:bodyPr/>
        <a:lstStyle/>
        <a:p>
          <a:endParaRPr lang="en-US"/>
        </a:p>
      </dgm:t>
    </dgm:pt>
    <dgm:pt modelId="{CB5479DD-BB83-4A7F-A8FE-0204BBEBDE57}" type="pres">
      <dgm:prSet presAssocID="{720AE7B9-47AD-4FF9-8447-DF1B8C5FD193}" presName="hierChild4" presStyleCnt="0"/>
      <dgm:spPr/>
      <dgm:t>
        <a:bodyPr/>
        <a:lstStyle/>
        <a:p>
          <a:endParaRPr lang="en-US"/>
        </a:p>
      </dgm:t>
    </dgm:pt>
    <dgm:pt modelId="{72F3B94E-5E2C-4DF9-BCD5-3D635951032C}" type="pres">
      <dgm:prSet presAssocID="{720AE7B9-47AD-4FF9-8447-DF1B8C5FD193}" presName="hierChild5" presStyleCnt="0"/>
      <dgm:spPr/>
      <dgm:t>
        <a:bodyPr/>
        <a:lstStyle/>
        <a:p>
          <a:endParaRPr lang="en-US"/>
        </a:p>
      </dgm:t>
    </dgm:pt>
    <dgm:pt modelId="{A2B3E9C0-0CE1-4B88-9E71-F7CE1A7F99D7}" type="pres">
      <dgm:prSet presAssocID="{14236E25-24F5-4DBC-8E23-FED5A30DEF0E}" presName="Name37" presStyleLbl="parChTrans1D3" presStyleIdx="1" presStyleCnt="9"/>
      <dgm:spPr/>
      <dgm:t>
        <a:bodyPr/>
        <a:lstStyle/>
        <a:p>
          <a:endParaRPr lang="en-US"/>
        </a:p>
      </dgm:t>
    </dgm:pt>
    <dgm:pt modelId="{16797127-63BB-4E8C-8005-5E72B3FF9B3C}" type="pres">
      <dgm:prSet presAssocID="{7D7C3FA2-CE75-4B7D-A218-416906B8D917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4DFEF789-40AF-4966-81EA-F7C1CBE52773}" type="pres">
      <dgm:prSet presAssocID="{7D7C3FA2-CE75-4B7D-A218-416906B8D917}" presName="rootComposite" presStyleCnt="0"/>
      <dgm:spPr/>
      <dgm:t>
        <a:bodyPr/>
        <a:lstStyle/>
        <a:p>
          <a:endParaRPr lang="en-US"/>
        </a:p>
      </dgm:t>
    </dgm:pt>
    <dgm:pt modelId="{A77E27D0-EFD7-495B-9E1A-5A5371B8AB84}" type="pres">
      <dgm:prSet presAssocID="{7D7C3FA2-CE75-4B7D-A218-416906B8D917}" presName="rootText" presStyleLbl="node3" presStyleIdx="1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3F8734B-291F-4EE9-8AEC-5D7130065FE8}" type="pres">
      <dgm:prSet presAssocID="{7D7C3FA2-CE75-4B7D-A218-416906B8D917}" presName="rootConnector" presStyleLbl="node3" presStyleIdx="1" presStyleCnt="9"/>
      <dgm:spPr/>
      <dgm:t>
        <a:bodyPr/>
        <a:lstStyle/>
        <a:p>
          <a:endParaRPr lang="en-US"/>
        </a:p>
      </dgm:t>
    </dgm:pt>
    <dgm:pt modelId="{F1241E53-1837-4666-9A60-B6AD42958195}" type="pres">
      <dgm:prSet presAssocID="{7D7C3FA2-CE75-4B7D-A218-416906B8D917}" presName="hierChild4" presStyleCnt="0"/>
      <dgm:spPr/>
      <dgm:t>
        <a:bodyPr/>
        <a:lstStyle/>
        <a:p>
          <a:endParaRPr lang="en-US"/>
        </a:p>
      </dgm:t>
    </dgm:pt>
    <dgm:pt modelId="{E1079AD2-0C8E-44F0-9596-6D504E6161CE}" type="pres">
      <dgm:prSet presAssocID="{7D7C3FA2-CE75-4B7D-A218-416906B8D917}" presName="hierChild5" presStyleCnt="0"/>
      <dgm:spPr/>
      <dgm:t>
        <a:bodyPr/>
        <a:lstStyle/>
        <a:p>
          <a:endParaRPr lang="en-US"/>
        </a:p>
      </dgm:t>
    </dgm:pt>
    <dgm:pt modelId="{50C84909-550F-4BDC-8966-B86E5E1786AE}" type="pres">
      <dgm:prSet presAssocID="{359E2506-5D19-4F9C-8688-C666576175A9}" presName="Name37" presStyleLbl="parChTrans1D3" presStyleIdx="2" presStyleCnt="9"/>
      <dgm:spPr/>
      <dgm:t>
        <a:bodyPr/>
        <a:lstStyle/>
        <a:p>
          <a:endParaRPr lang="en-US"/>
        </a:p>
      </dgm:t>
    </dgm:pt>
    <dgm:pt modelId="{EBCAC25B-3E97-4708-AA7E-0D44E4C06B2C}" type="pres">
      <dgm:prSet presAssocID="{9B931718-FC68-4B2E-9854-492BCFE6FE83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56A22D43-7DD1-46E6-B06A-D1D662EE6DAD}" type="pres">
      <dgm:prSet presAssocID="{9B931718-FC68-4B2E-9854-492BCFE6FE83}" presName="rootComposite" presStyleCnt="0"/>
      <dgm:spPr/>
      <dgm:t>
        <a:bodyPr/>
        <a:lstStyle/>
        <a:p>
          <a:endParaRPr lang="en-US"/>
        </a:p>
      </dgm:t>
    </dgm:pt>
    <dgm:pt modelId="{984A4F3B-0A00-4E5A-9092-1922B8A7FAB3}" type="pres">
      <dgm:prSet presAssocID="{9B931718-FC68-4B2E-9854-492BCFE6FE83}" presName="rootText" presStyleLbl="node3" presStyleIdx="2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00B55C8-272E-490B-AB5F-A5C6369E8C79}" type="pres">
      <dgm:prSet presAssocID="{9B931718-FC68-4B2E-9854-492BCFE6FE83}" presName="rootConnector" presStyleLbl="node3" presStyleIdx="2" presStyleCnt="9"/>
      <dgm:spPr/>
      <dgm:t>
        <a:bodyPr/>
        <a:lstStyle/>
        <a:p>
          <a:endParaRPr lang="en-US"/>
        </a:p>
      </dgm:t>
    </dgm:pt>
    <dgm:pt modelId="{18D6C1B6-F902-4ABE-BB60-086B907C1C3A}" type="pres">
      <dgm:prSet presAssocID="{9B931718-FC68-4B2E-9854-492BCFE6FE83}" presName="hierChild4" presStyleCnt="0"/>
      <dgm:spPr/>
      <dgm:t>
        <a:bodyPr/>
        <a:lstStyle/>
        <a:p>
          <a:endParaRPr lang="en-US"/>
        </a:p>
      </dgm:t>
    </dgm:pt>
    <dgm:pt modelId="{4E3F742A-A2F5-4971-A026-90DA3CFE956C}" type="pres">
      <dgm:prSet presAssocID="{9B931718-FC68-4B2E-9854-492BCFE6FE83}" presName="hierChild5" presStyleCnt="0"/>
      <dgm:spPr/>
      <dgm:t>
        <a:bodyPr/>
        <a:lstStyle/>
        <a:p>
          <a:endParaRPr lang="en-US"/>
        </a:p>
      </dgm:t>
    </dgm:pt>
    <dgm:pt modelId="{6262AD45-37CE-4E4E-81E1-98A75BFFED33}" type="pres">
      <dgm:prSet presAssocID="{EF032B47-594B-4FE2-82AA-11F85DCB3B05}" presName="Name37" presStyleLbl="parChTrans1D3" presStyleIdx="3" presStyleCnt="9"/>
      <dgm:spPr/>
      <dgm:t>
        <a:bodyPr/>
        <a:lstStyle/>
        <a:p>
          <a:endParaRPr lang="en-US"/>
        </a:p>
      </dgm:t>
    </dgm:pt>
    <dgm:pt modelId="{3BDA7C33-CC97-412E-A3EC-9F252E4F5A5A}" type="pres">
      <dgm:prSet presAssocID="{0B5A8C4E-0287-4775-89CD-4F33BAC9506F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2723E1CD-4CEE-4F07-87CD-20B12A8FC827}" type="pres">
      <dgm:prSet presAssocID="{0B5A8C4E-0287-4775-89CD-4F33BAC9506F}" presName="rootComposite" presStyleCnt="0"/>
      <dgm:spPr/>
      <dgm:t>
        <a:bodyPr/>
        <a:lstStyle/>
        <a:p>
          <a:endParaRPr lang="en-US"/>
        </a:p>
      </dgm:t>
    </dgm:pt>
    <dgm:pt modelId="{E8D3E92A-0794-4DFF-ADF5-83A9F9869BDA}" type="pres">
      <dgm:prSet presAssocID="{0B5A8C4E-0287-4775-89CD-4F33BAC9506F}" presName="rootText" presStyleLbl="node3" presStyleIdx="3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4F391C2-584B-4F01-9A6E-BB77AA2A997A}" type="pres">
      <dgm:prSet presAssocID="{0B5A8C4E-0287-4775-89CD-4F33BAC9506F}" presName="rootConnector" presStyleLbl="node3" presStyleIdx="3" presStyleCnt="9"/>
      <dgm:spPr/>
      <dgm:t>
        <a:bodyPr/>
        <a:lstStyle/>
        <a:p>
          <a:endParaRPr lang="en-US"/>
        </a:p>
      </dgm:t>
    </dgm:pt>
    <dgm:pt modelId="{B2E11ABB-6C93-42E1-91A1-DB542954BA14}" type="pres">
      <dgm:prSet presAssocID="{0B5A8C4E-0287-4775-89CD-4F33BAC9506F}" presName="hierChild4" presStyleCnt="0"/>
      <dgm:spPr/>
      <dgm:t>
        <a:bodyPr/>
        <a:lstStyle/>
        <a:p>
          <a:endParaRPr lang="en-US"/>
        </a:p>
      </dgm:t>
    </dgm:pt>
    <dgm:pt modelId="{7916A290-6350-41CF-9D02-42ED9408F54E}" type="pres">
      <dgm:prSet presAssocID="{0B5A8C4E-0287-4775-89CD-4F33BAC9506F}" presName="hierChild5" presStyleCnt="0"/>
      <dgm:spPr/>
      <dgm:t>
        <a:bodyPr/>
        <a:lstStyle/>
        <a:p>
          <a:endParaRPr lang="en-US"/>
        </a:p>
      </dgm:t>
    </dgm:pt>
    <dgm:pt modelId="{0AD99682-343B-4485-A14B-DE65F037093C}" type="pres">
      <dgm:prSet presAssocID="{E5A2EAE4-118D-44B2-B409-8CEB91FA5E76}" presName="Name37" presStyleLbl="parChTrans1D3" presStyleIdx="4" presStyleCnt="9"/>
      <dgm:spPr/>
      <dgm:t>
        <a:bodyPr/>
        <a:lstStyle/>
        <a:p>
          <a:endParaRPr lang="en-US"/>
        </a:p>
      </dgm:t>
    </dgm:pt>
    <dgm:pt modelId="{66F58E59-4021-466D-B511-8DE0ABD9D719}" type="pres">
      <dgm:prSet presAssocID="{952DAF52-AE68-4172-A6FB-BEC966E0D344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2898F04E-976D-464B-AD88-34BE6A9B7381}" type="pres">
      <dgm:prSet presAssocID="{952DAF52-AE68-4172-A6FB-BEC966E0D344}" presName="rootComposite" presStyleCnt="0"/>
      <dgm:spPr/>
      <dgm:t>
        <a:bodyPr/>
        <a:lstStyle/>
        <a:p>
          <a:endParaRPr lang="en-US"/>
        </a:p>
      </dgm:t>
    </dgm:pt>
    <dgm:pt modelId="{A3E484CC-77C3-47AE-B304-C3AADDD9ACD2}" type="pres">
      <dgm:prSet presAssocID="{952DAF52-AE68-4172-A6FB-BEC966E0D344}" presName="rootText" presStyleLbl="node3" presStyleIdx="4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14B7165-E531-4D80-8A5A-747F5271B944}" type="pres">
      <dgm:prSet presAssocID="{952DAF52-AE68-4172-A6FB-BEC966E0D344}" presName="rootConnector" presStyleLbl="node3" presStyleIdx="4" presStyleCnt="9"/>
      <dgm:spPr/>
      <dgm:t>
        <a:bodyPr/>
        <a:lstStyle/>
        <a:p>
          <a:endParaRPr lang="en-US"/>
        </a:p>
      </dgm:t>
    </dgm:pt>
    <dgm:pt modelId="{E6B0D5A4-884A-4729-864C-B0C32C46727A}" type="pres">
      <dgm:prSet presAssocID="{952DAF52-AE68-4172-A6FB-BEC966E0D344}" presName="hierChild4" presStyleCnt="0"/>
      <dgm:spPr/>
      <dgm:t>
        <a:bodyPr/>
        <a:lstStyle/>
        <a:p>
          <a:endParaRPr lang="en-US"/>
        </a:p>
      </dgm:t>
    </dgm:pt>
    <dgm:pt modelId="{3C160525-5F33-4057-894A-F0C79444ED80}" type="pres">
      <dgm:prSet presAssocID="{952DAF52-AE68-4172-A6FB-BEC966E0D344}" presName="hierChild5" presStyleCnt="0"/>
      <dgm:spPr/>
      <dgm:t>
        <a:bodyPr/>
        <a:lstStyle/>
        <a:p>
          <a:endParaRPr lang="en-US"/>
        </a:p>
      </dgm:t>
    </dgm:pt>
    <dgm:pt modelId="{590C0E8E-9146-4FF8-9E81-E2F73D38D307}" type="pres">
      <dgm:prSet presAssocID="{38271EC2-1F65-43B3-87B0-6BB11652BC0F}" presName="Name37" presStyleLbl="parChTrans1D3" presStyleIdx="5" presStyleCnt="9"/>
      <dgm:spPr/>
      <dgm:t>
        <a:bodyPr/>
        <a:lstStyle/>
        <a:p>
          <a:endParaRPr lang="en-US"/>
        </a:p>
      </dgm:t>
    </dgm:pt>
    <dgm:pt modelId="{B8D035F0-4E87-47D4-93A1-5B4102E15684}" type="pres">
      <dgm:prSet presAssocID="{5AFDEC37-303D-4C39-871D-86C74E419A23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B9618333-C328-4BA9-9084-341029DCBB82}" type="pres">
      <dgm:prSet presAssocID="{5AFDEC37-303D-4C39-871D-86C74E419A23}" presName="rootComposite" presStyleCnt="0"/>
      <dgm:spPr/>
      <dgm:t>
        <a:bodyPr/>
        <a:lstStyle/>
        <a:p>
          <a:endParaRPr lang="en-US"/>
        </a:p>
      </dgm:t>
    </dgm:pt>
    <dgm:pt modelId="{BFAB0065-46B4-4707-8B1B-5AD5D852CD73}" type="pres">
      <dgm:prSet presAssocID="{5AFDEC37-303D-4C39-871D-86C74E419A23}" presName="rootText" presStyleLbl="node3" presStyleIdx="5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2F34D39-2854-4551-9A6B-77D1ED85C57F}" type="pres">
      <dgm:prSet presAssocID="{5AFDEC37-303D-4C39-871D-86C74E419A23}" presName="rootConnector" presStyleLbl="node3" presStyleIdx="5" presStyleCnt="9"/>
      <dgm:spPr/>
      <dgm:t>
        <a:bodyPr/>
        <a:lstStyle/>
        <a:p>
          <a:endParaRPr lang="en-US"/>
        </a:p>
      </dgm:t>
    </dgm:pt>
    <dgm:pt modelId="{6B99D04E-64C1-46E8-9CAF-CC329F9FE5FF}" type="pres">
      <dgm:prSet presAssocID="{5AFDEC37-303D-4C39-871D-86C74E419A23}" presName="hierChild4" presStyleCnt="0"/>
      <dgm:spPr/>
      <dgm:t>
        <a:bodyPr/>
        <a:lstStyle/>
        <a:p>
          <a:endParaRPr lang="en-US"/>
        </a:p>
      </dgm:t>
    </dgm:pt>
    <dgm:pt modelId="{6E716853-CC29-454F-B69D-A971E0A337C3}" type="pres">
      <dgm:prSet presAssocID="{5AFDEC37-303D-4C39-871D-86C74E419A23}" presName="hierChild5" presStyleCnt="0"/>
      <dgm:spPr/>
      <dgm:t>
        <a:bodyPr/>
        <a:lstStyle/>
        <a:p>
          <a:endParaRPr lang="en-US"/>
        </a:p>
      </dgm:t>
    </dgm:pt>
    <dgm:pt modelId="{82355405-192E-42E7-B905-7A6FE845C6D9}" type="pres">
      <dgm:prSet presAssocID="{843E3B21-DC9F-4CF8-A7F1-93BF704E47A7}" presName="hierChild5" presStyleCnt="0"/>
      <dgm:spPr/>
      <dgm:t>
        <a:bodyPr/>
        <a:lstStyle/>
        <a:p>
          <a:endParaRPr lang="en-US"/>
        </a:p>
      </dgm:t>
    </dgm:pt>
    <dgm:pt modelId="{96956835-3386-449C-A89B-65F7C680246D}" type="pres">
      <dgm:prSet presAssocID="{65D088B7-B36E-49AA-84B9-2BC51B326EA1}" presName="Name37" presStyleLbl="parChTrans1D2" presStyleIdx="1" presStyleCnt="3"/>
      <dgm:spPr/>
      <dgm:t>
        <a:bodyPr/>
        <a:lstStyle/>
        <a:p>
          <a:endParaRPr lang="en-US"/>
        </a:p>
      </dgm:t>
    </dgm:pt>
    <dgm:pt modelId="{DBD72DFC-EF80-4973-B6E5-D3C9AB052F9E}" type="pres">
      <dgm:prSet presAssocID="{E420C67E-C4C2-476B-9B47-FFB47D587009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72B31F8C-4060-4D82-8D0A-8A332812C464}" type="pres">
      <dgm:prSet presAssocID="{E420C67E-C4C2-476B-9B47-FFB47D587009}" presName="rootComposite" presStyleCnt="0"/>
      <dgm:spPr/>
      <dgm:t>
        <a:bodyPr/>
        <a:lstStyle/>
        <a:p>
          <a:endParaRPr lang="en-US"/>
        </a:p>
      </dgm:t>
    </dgm:pt>
    <dgm:pt modelId="{F0ED6141-24DB-4164-A2D4-B51E750525CD}" type="pres">
      <dgm:prSet presAssocID="{E420C67E-C4C2-476B-9B47-FFB47D587009}" presName="rootText" presStyleLbl="node2" presStyleIdx="1" presStyleCnt="3" custScaleX="138290" custScaleY="107228" custLinFactNeighborX="-43292" custLinFactNeighborY="6086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5256018-C335-4CDB-9EC5-7AE2ABAC1E00}" type="pres">
      <dgm:prSet presAssocID="{E420C67E-C4C2-476B-9B47-FFB47D587009}" presName="rootConnector" presStyleLbl="node2" presStyleIdx="1" presStyleCnt="3"/>
      <dgm:spPr/>
      <dgm:t>
        <a:bodyPr/>
        <a:lstStyle/>
        <a:p>
          <a:endParaRPr lang="en-US"/>
        </a:p>
      </dgm:t>
    </dgm:pt>
    <dgm:pt modelId="{2A7D3334-4741-4667-BCDB-1A78491B4FD4}" type="pres">
      <dgm:prSet presAssocID="{E420C67E-C4C2-476B-9B47-FFB47D587009}" presName="hierChild4" presStyleCnt="0"/>
      <dgm:spPr/>
      <dgm:t>
        <a:bodyPr/>
        <a:lstStyle/>
        <a:p>
          <a:endParaRPr lang="en-US"/>
        </a:p>
      </dgm:t>
    </dgm:pt>
    <dgm:pt modelId="{CC07306D-4BD7-4477-BB61-A954489058D6}" type="pres">
      <dgm:prSet presAssocID="{C3334397-F4C9-43FD-9DE7-786437A51BF8}" presName="Name37" presStyleLbl="parChTrans1D3" presStyleIdx="6" presStyleCnt="9"/>
      <dgm:spPr/>
      <dgm:t>
        <a:bodyPr/>
        <a:lstStyle/>
        <a:p>
          <a:endParaRPr lang="en-US"/>
        </a:p>
      </dgm:t>
    </dgm:pt>
    <dgm:pt modelId="{0ECB6EE9-64D7-46FB-8A0A-B83CD370F0B4}" type="pres">
      <dgm:prSet presAssocID="{0216D3CF-84E5-4443-8082-6C6C297E9A4D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9D96850F-E3A0-4435-B942-5F48B18AC5F4}" type="pres">
      <dgm:prSet presAssocID="{0216D3CF-84E5-4443-8082-6C6C297E9A4D}" presName="rootComposite" presStyleCnt="0"/>
      <dgm:spPr/>
      <dgm:t>
        <a:bodyPr/>
        <a:lstStyle/>
        <a:p>
          <a:endParaRPr lang="en-US"/>
        </a:p>
      </dgm:t>
    </dgm:pt>
    <dgm:pt modelId="{CBCDE87F-FA6C-44B8-A9C2-1E747BE7F736}" type="pres">
      <dgm:prSet presAssocID="{0216D3CF-84E5-4443-8082-6C6C297E9A4D}" presName="rootText" presStyleLbl="node3" presStyleIdx="6" presStyleCnt="9" custScaleX="223979" custScaleY="161509" custLinFactY="66356" custLinFactNeighborX="-381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F9F174C-7D69-49F6-A7FE-7ED9990EB82A}" type="pres">
      <dgm:prSet presAssocID="{0216D3CF-84E5-4443-8082-6C6C297E9A4D}" presName="rootConnector" presStyleLbl="node3" presStyleIdx="6" presStyleCnt="9"/>
      <dgm:spPr/>
      <dgm:t>
        <a:bodyPr/>
        <a:lstStyle/>
        <a:p>
          <a:endParaRPr lang="en-US"/>
        </a:p>
      </dgm:t>
    </dgm:pt>
    <dgm:pt modelId="{1934090D-CBAE-4AB8-9BE7-C9762145998D}" type="pres">
      <dgm:prSet presAssocID="{0216D3CF-84E5-4443-8082-6C6C297E9A4D}" presName="hierChild4" presStyleCnt="0"/>
      <dgm:spPr/>
      <dgm:t>
        <a:bodyPr/>
        <a:lstStyle/>
        <a:p>
          <a:endParaRPr lang="en-US"/>
        </a:p>
      </dgm:t>
    </dgm:pt>
    <dgm:pt modelId="{7BCCCAFF-8404-460B-9A5A-B8BF91057993}" type="pres">
      <dgm:prSet presAssocID="{0216D3CF-84E5-4443-8082-6C6C297E9A4D}" presName="hierChild5" presStyleCnt="0"/>
      <dgm:spPr/>
      <dgm:t>
        <a:bodyPr/>
        <a:lstStyle/>
        <a:p>
          <a:endParaRPr lang="en-US"/>
        </a:p>
      </dgm:t>
    </dgm:pt>
    <dgm:pt modelId="{1DBB8D6B-1EA9-448A-B87B-A162873E7B21}" type="pres">
      <dgm:prSet presAssocID="{E420C67E-C4C2-476B-9B47-FFB47D587009}" presName="hierChild5" presStyleCnt="0"/>
      <dgm:spPr/>
      <dgm:t>
        <a:bodyPr/>
        <a:lstStyle/>
        <a:p>
          <a:endParaRPr lang="en-US"/>
        </a:p>
      </dgm:t>
    </dgm:pt>
    <dgm:pt modelId="{C137CAE9-66E1-459B-A733-9B53B02E07AF}" type="pres">
      <dgm:prSet presAssocID="{6ED4E1AA-EFDD-4E70-836E-3DB36084DE98}" presName="Name37" presStyleLbl="parChTrans1D2" presStyleIdx="2" presStyleCnt="3"/>
      <dgm:spPr/>
      <dgm:t>
        <a:bodyPr/>
        <a:lstStyle/>
        <a:p>
          <a:endParaRPr lang="en-US"/>
        </a:p>
      </dgm:t>
    </dgm:pt>
    <dgm:pt modelId="{35CBA655-D40F-4A2B-B71A-711D392B5A84}" type="pres">
      <dgm:prSet presAssocID="{1CE2D78B-C788-472A-8424-7F9A4AB5205E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9DC86AED-B6DB-4100-9EA0-4E60FFB4A367}" type="pres">
      <dgm:prSet presAssocID="{1CE2D78B-C788-472A-8424-7F9A4AB5205E}" presName="rootComposite" presStyleCnt="0"/>
      <dgm:spPr/>
      <dgm:t>
        <a:bodyPr/>
        <a:lstStyle/>
        <a:p>
          <a:endParaRPr lang="en-US"/>
        </a:p>
      </dgm:t>
    </dgm:pt>
    <dgm:pt modelId="{A5F2589C-C16C-45F2-9A3D-F2A6CB2476D1}" type="pres">
      <dgm:prSet presAssocID="{1CE2D78B-C788-472A-8424-7F9A4AB5205E}" presName="rootText" presStyleLbl="node2" presStyleIdx="2" presStyleCnt="3" custScaleX="150541" custLinFactNeighborX="69761" custLinFactNeighborY="4720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7B6648-0B7F-4E1F-B6C5-CE0E2F04B9FF}" type="pres">
      <dgm:prSet presAssocID="{1CE2D78B-C788-472A-8424-7F9A4AB5205E}" presName="rootConnector" presStyleLbl="node2" presStyleIdx="2" presStyleCnt="3"/>
      <dgm:spPr/>
      <dgm:t>
        <a:bodyPr/>
        <a:lstStyle/>
        <a:p>
          <a:endParaRPr lang="en-US"/>
        </a:p>
      </dgm:t>
    </dgm:pt>
    <dgm:pt modelId="{29CE8073-D253-4588-B954-7167D33B1947}" type="pres">
      <dgm:prSet presAssocID="{1CE2D78B-C788-472A-8424-7F9A4AB5205E}" presName="hierChild4" presStyleCnt="0"/>
      <dgm:spPr/>
      <dgm:t>
        <a:bodyPr/>
        <a:lstStyle/>
        <a:p>
          <a:endParaRPr lang="en-US"/>
        </a:p>
      </dgm:t>
    </dgm:pt>
    <dgm:pt modelId="{AEDC7120-FE6F-49D8-95F2-AB1B2B6AC9A8}" type="pres">
      <dgm:prSet presAssocID="{F0BD47AB-7AC9-40A2-A96D-1A911EFDE7FF}" presName="Name37" presStyleLbl="parChTrans1D3" presStyleIdx="7" presStyleCnt="9"/>
      <dgm:spPr/>
      <dgm:t>
        <a:bodyPr/>
        <a:lstStyle/>
        <a:p>
          <a:endParaRPr lang="en-US"/>
        </a:p>
      </dgm:t>
    </dgm:pt>
    <dgm:pt modelId="{F65159AB-B6AE-4C58-BE85-DB4966F15FBA}" type="pres">
      <dgm:prSet presAssocID="{A240A1E1-162D-4A6E-A806-B6FF45B3AB68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4413A7CD-B07B-4481-95F7-63264BEB8326}" type="pres">
      <dgm:prSet presAssocID="{A240A1E1-162D-4A6E-A806-B6FF45B3AB68}" presName="rootComposite" presStyleCnt="0"/>
      <dgm:spPr/>
      <dgm:t>
        <a:bodyPr/>
        <a:lstStyle/>
        <a:p>
          <a:endParaRPr lang="en-US"/>
        </a:p>
      </dgm:t>
    </dgm:pt>
    <dgm:pt modelId="{6E033C69-6BA8-4812-AE4E-0022A986E944}" type="pres">
      <dgm:prSet presAssocID="{A240A1E1-162D-4A6E-A806-B6FF45B3AB68}" presName="rootText" presStyleLbl="node3" presStyleIdx="7" presStyleCnt="9" custScaleX="177156" custLinFactX="490" custLinFactY="41635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C564F4-BF5C-4321-B86B-65391CEDEFC7}" type="pres">
      <dgm:prSet presAssocID="{A240A1E1-162D-4A6E-A806-B6FF45B3AB68}" presName="rootConnector" presStyleLbl="node3" presStyleIdx="7" presStyleCnt="9"/>
      <dgm:spPr/>
      <dgm:t>
        <a:bodyPr/>
        <a:lstStyle/>
        <a:p>
          <a:endParaRPr lang="en-US"/>
        </a:p>
      </dgm:t>
    </dgm:pt>
    <dgm:pt modelId="{7C0A51FE-5187-4FBA-A9F6-DFFAA1B3DD3E}" type="pres">
      <dgm:prSet presAssocID="{A240A1E1-162D-4A6E-A806-B6FF45B3AB68}" presName="hierChild4" presStyleCnt="0"/>
      <dgm:spPr/>
      <dgm:t>
        <a:bodyPr/>
        <a:lstStyle/>
        <a:p>
          <a:endParaRPr lang="en-US"/>
        </a:p>
      </dgm:t>
    </dgm:pt>
    <dgm:pt modelId="{A5F1F6CB-B812-4FEA-ACD0-E838992C8274}" type="pres">
      <dgm:prSet presAssocID="{A240A1E1-162D-4A6E-A806-B6FF45B3AB68}" presName="hierChild5" presStyleCnt="0"/>
      <dgm:spPr/>
      <dgm:t>
        <a:bodyPr/>
        <a:lstStyle/>
        <a:p>
          <a:endParaRPr lang="en-US"/>
        </a:p>
      </dgm:t>
    </dgm:pt>
    <dgm:pt modelId="{28E82B1A-B1F2-4CC5-9B64-B60015CBF624}" type="pres">
      <dgm:prSet presAssocID="{A60BCA66-49BB-4275-9110-8B471B3FC59B}" presName="Name37" presStyleLbl="parChTrans1D3" presStyleIdx="8" presStyleCnt="9"/>
      <dgm:spPr/>
      <dgm:t>
        <a:bodyPr/>
        <a:lstStyle/>
        <a:p>
          <a:endParaRPr lang="en-US"/>
        </a:p>
      </dgm:t>
    </dgm:pt>
    <dgm:pt modelId="{B22DAA2B-22C5-4EFA-A0A6-9AD0235D2103}" type="pres">
      <dgm:prSet presAssocID="{35016019-1F0E-47A9-A9CB-AE98C0AFCFC1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514CA667-AA27-4D37-9311-1D5D85EF643D}" type="pres">
      <dgm:prSet presAssocID="{35016019-1F0E-47A9-A9CB-AE98C0AFCFC1}" presName="rootComposite" presStyleCnt="0"/>
      <dgm:spPr/>
      <dgm:t>
        <a:bodyPr/>
        <a:lstStyle/>
        <a:p>
          <a:endParaRPr lang="en-US"/>
        </a:p>
      </dgm:t>
    </dgm:pt>
    <dgm:pt modelId="{428A54D9-43F6-47B6-B3A2-FDCE09CB5A97}" type="pres">
      <dgm:prSet presAssocID="{35016019-1F0E-47A9-A9CB-AE98C0AFCFC1}" presName="rootText" presStyleLbl="node3" presStyleIdx="8" presStyleCnt="9" custScaleX="177156" custLinFactX="490" custLinFactY="46741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1DAB6FE-4097-4695-9397-7DCCE262634B}" type="pres">
      <dgm:prSet presAssocID="{35016019-1F0E-47A9-A9CB-AE98C0AFCFC1}" presName="rootConnector" presStyleLbl="node3" presStyleIdx="8" presStyleCnt="9"/>
      <dgm:spPr/>
      <dgm:t>
        <a:bodyPr/>
        <a:lstStyle/>
        <a:p>
          <a:endParaRPr lang="en-US"/>
        </a:p>
      </dgm:t>
    </dgm:pt>
    <dgm:pt modelId="{F4CC167B-F2F2-455C-9A45-823F18AFEF9A}" type="pres">
      <dgm:prSet presAssocID="{35016019-1F0E-47A9-A9CB-AE98C0AFCFC1}" presName="hierChild4" presStyleCnt="0"/>
      <dgm:spPr/>
      <dgm:t>
        <a:bodyPr/>
        <a:lstStyle/>
        <a:p>
          <a:endParaRPr lang="en-US"/>
        </a:p>
      </dgm:t>
    </dgm:pt>
    <dgm:pt modelId="{A5D0575B-48E0-4A98-88E8-8B4961A6F762}" type="pres">
      <dgm:prSet presAssocID="{35016019-1F0E-47A9-A9CB-AE98C0AFCFC1}" presName="hierChild5" presStyleCnt="0"/>
      <dgm:spPr/>
      <dgm:t>
        <a:bodyPr/>
        <a:lstStyle/>
        <a:p>
          <a:endParaRPr lang="en-US"/>
        </a:p>
      </dgm:t>
    </dgm:pt>
    <dgm:pt modelId="{528156B2-647C-44D5-ABAD-EBDCDF85B348}" type="pres">
      <dgm:prSet presAssocID="{1CE2D78B-C788-472A-8424-7F9A4AB5205E}" presName="hierChild5" presStyleCnt="0"/>
      <dgm:spPr/>
      <dgm:t>
        <a:bodyPr/>
        <a:lstStyle/>
        <a:p>
          <a:endParaRPr lang="en-US"/>
        </a:p>
      </dgm:t>
    </dgm:pt>
    <dgm:pt modelId="{B87F60ED-85BE-4872-BA6E-CDCB9CBDC6A3}" type="pres">
      <dgm:prSet presAssocID="{43BDC9E6-B3ED-4E11-B81F-A36F96CA06AD}" presName="hierChild3" presStyleCnt="0"/>
      <dgm:spPr/>
      <dgm:t>
        <a:bodyPr/>
        <a:lstStyle/>
        <a:p>
          <a:endParaRPr lang="en-US"/>
        </a:p>
      </dgm:t>
    </dgm:pt>
  </dgm:ptLst>
  <dgm:cxnLst>
    <dgm:cxn modelId="{3C110BFF-FD87-473E-9985-0D9D761E60BD}" srcId="{43BDC9E6-B3ED-4E11-B81F-A36F96CA06AD}" destId="{843E3B21-DC9F-4CF8-A7F1-93BF704E47A7}" srcOrd="0" destOrd="0" parTransId="{3EEFE082-C4FA-499A-BA01-E4B8217A4B73}" sibTransId="{2992CB8F-FBF4-486F-BE86-7AEC96D28238}"/>
    <dgm:cxn modelId="{E040E2E2-F016-4F82-9927-EA3D62DA0F57}" srcId="{A26E1133-27F8-42A1-91FE-23383B9ACC99}" destId="{43BDC9E6-B3ED-4E11-B81F-A36F96CA06AD}" srcOrd="0" destOrd="0" parTransId="{818B4425-229C-4D05-BD73-F2583AB7B9C5}" sibTransId="{A3D2AA9D-1D2C-45CA-9A99-0FD9E343747F}"/>
    <dgm:cxn modelId="{C867987D-D446-4B7F-88E9-58D84B33863F}" type="presOf" srcId="{43BDC9E6-B3ED-4E11-B81F-A36F96CA06AD}" destId="{6EF86BC6-06CE-4768-9942-F4420543D5EE}" srcOrd="1" destOrd="0" presId="urn:microsoft.com/office/officeart/2005/8/layout/orgChart1"/>
    <dgm:cxn modelId="{C3A4E08C-0B25-4A04-8AD3-550D4D86E432}" srcId="{843E3B21-DC9F-4CF8-A7F1-93BF704E47A7}" destId="{5AFDEC37-303D-4C39-871D-86C74E419A23}" srcOrd="5" destOrd="0" parTransId="{38271EC2-1F65-43B3-87B0-6BB11652BC0F}" sibTransId="{157849EC-686C-46C2-98FE-E58DF03FCC11}"/>
    <dgm:cxn modelId="{2AC6A1A2-FDAF-4C07-BF93-78DC05214544}" srcId="{43BDC9E6-B3ED-4E11-B81F-A36F96CA06AD}" destId="{E420C67E-C4C2-476B-9B47-FFB47D587009}" srcOrd="1" destOrd="0" parTransId="{65D088B7-B36E-49AA-84B9-2BC51B326EA1}" sibTransId="{7CC715FB-928E-4CFE-A8F5-045F16B2D743}"/>
    <dgm:cxn modelId="{31973768-A480-4A33-9309-F8A760512BC9}" type="presOf" srcId="{A60BCA66-49BB-4275-9110-8B471B3FC59B}" destId="{28E82B1A-B1F2-4CC5-9B64-B60015CBF624}" srcOrd="0" destOrd="0" presId="urn:microsoft.com/office/officeart/2005/8/layout/orgChart1"/>
    <dgm:cxn modelId="{8697CF78-DBEA-48BA-B40C-D8E785C75ECE}" type="presOf" srcId="{E5A2EAE4-118D-44B2-B409-8CEB91FA5E76}" destId="{0AD99682-343B-4485-A14B-DE65F037093C}" srcOrd="0" destOrd="0" presId="urn:microsoft.com/office/officeart/2005/8/layout/orgChart1"/>
    <dgm:cxn modelId="{63B3D331-10EC-46E8-BF5C-1836D1C5315B}" type="presOf" srcId="{359E2506-5D19-4F9C-8688-C666576175A9}" destId="{50C84909-550F-4BDC-8966-B86E5E1786AE}" srcOrd="0" destOrd="0" presId="urn:microsoft.com/office/officeart/2005/8/layout/orgChart1"/>
    <dgm:cxn modelId="{6E2E3B55-A6EB-46D7-B7D0-04629FD4C800}" srcId="{843E3B21-DC9F-4CF8-A7F1-93BF704E47A7}" destId="{9B931718-FC68-4B2E-9854-492BCFE6FE83}" srcOrd="2" destOrd="0" parTransId="{359E2506-5D19-4F9C-8688-C666576175A9}" sibTransId="{3113A228-1208-4305-91A0-AEEDFF54B5B2}"/>
    <dgm:cxn modelId="{C7B12242-93F1-42B1-8149-73B2BE7E9DC0}" srcId="{843E3B21-DC9F-4CF8-A7F1-93BF704E47A7}" destId="{720AE7B9-47AD-4FF9-8447-DF1B8C5FD193}" srcOrd="0" destOrd="0" parTransId="{3722DDF4-26E2-4422-A516-DEEAC3ECF65B}" sibTransId="{D7F902F3-F976-415B-98C3-59057320C539}"/>
    <dgm:cxn modelId="{3ED86D31-0AC5-48AB-8B66-5024B2663233}" type="presOf" srcId="{952DAF52-AE68-4172-A6FB-BEC966E0D344}" destId="{D14B7165-E531-4D80-8A5A-747F5271B944}" srcOrd="1" destOrd="0" presId="urn:microsoft.com/office/officeart/2005/8/layout/orgChart1"/>
    <dgm:cxn modelId="{1FABB0DD-29CF-4FAE-A081-C331F55D94B4}" type="presOf" srcId="{1CE2D78B-C788-472A-8424-7F9A4AB5205E}" destId="{6D7B6648-0B7F-4E1F-B6C5-CE0E2F04B9FF}" srcOrd="1" destOrd="0" presId="urn:microsoft.com/office/officeart/2005/8/layout/orgChart1"/>
    <dgm:cxn modelId="{2648CEB6-4DB9-42A6-B700-4831395E15AC}" srcId="{843E3B21-DC9F-4CF8-A7F1-93BF704E47A7}" destId="{7D7C3FA2-CE75-4B7D-A218-416906B8D917}" srcOrd="1" destOrd="0" parTransId="{14236E25-24F5-4DBC-8E23-FED5A30DEF0E}" sibTransId="{FB40D391-DB77-4C2C-BDCE-7A207CEAE6FE}"/>
    <dgm:cxn modelId="{0CB48E43-541D-43CC-9FFB-A933F2A9771D}" type="presOf" srcId="{9B931718-FC68-4B2E-9854-492BCFE6FE83}" destId="{700B55C8-272E-490B-AB5F-A5C6369E8C79}" srcOrd="1" destOrd="0" presId="urn:microsoft.com/office/officeart/2005/8/layout/orgChart1"/>
    <dgm:cxn modelId="{C0377774-C612-4525-888F-62AB2516715C}" type="presOf" srcId="{952DAF52-AE68-4172-A6FB-BEC966E0D344}" destId="{A3E484CC-77C3-47AE-B304-C3AADDD9ACD2}" srcOrd="0" destOrd="0" presId="urn:microsoft.com/office/officeart/2005/8/layout/orgChart1"/>
    <dgm:cxn modelId="{3B0FF7BE-1104-4E31-96B4-23C0F43E5D7E}" type="presOf" srcId="{F0BD47AB-7AC9-40A2-A96D-1A911EFDE7FF}" destId="{AEDC7120-FE6F-49D8-95F2-AB1B2B6AC9A8}" srcOrd="0" destOrd="0" presId="urn:microsoft.com/office/officeart/2005/8/layout/orgChart1"/>
    <dgm:cxn modelId="{58C753EF-9AF4-4A15-A483-29E6C2358FE9}" type="presOf" srcId="{3722DDF4-26E2-4422-A516-DEEAC3ECF65B}" destId="{A83ED5F7-10A0-45C9-B814-5804FA76917E}" srcOrd="0" destOrd="0" presId="urn:microsoft.com/office/officeart/2005/8/layout/orgChart1"/>
    <dgm:cxn modelId="{C701BF70-00DD-4C2D-A806-46161147391A}" type="presOf" srcId="{0216D3CF-84E5-4443-8082-6C6C297E9A4D}" destId="{CF9F174C-7D69-49F6-A7FE-7ED9990EB82A}" srcOrd="1" destOrd="0" presId="urn:microsoft.com/office/officeart/2005/8/layout/orgChart1"/>
    <dgm:cxn modelId="{2A70C546-4BAE-42E5-B0C5-181C75C0DB8E}" type="presOf" srcId="{6ED4E1AA-EFDD-4E70-836E-3DB36084DE98}" destId="{C137CAE9-66E1-459B-A733-9B53B02E07AF}" srcOrd="0" destOrd="0" presId="urn:microsoft.com/office/officeart/2005/8/layout/orgChart1"/>
    <dgm:cxn modelId="{CCB5AE26-70F4-4C5B-B53D-136E39A12AC5}" srcId="{1CE2D78B-C788-472A-8424-7F9A4AB5205E}" destId="{A240A1E1-162D-4A6E-A806-B6FF45B3AB68}" srcOrd="0" destOrd="0" parTransId="{F0BD47AB-7AC9-40A2-A96D-1A911EFDE7FF}" sibTransId="{A12D77FB-8453-4F78-A007-65AD68966259}"/>
    <dgm:cxn modelId="{A1C41C3C-D840-4DED-8080-9415C1EACB92}" type="presOf" srcId="{5AFDEC37-303D-4C39-871D-86C74E419A23}" destId="{BFAB0065-46B4-4707-8B1B-5AD5D852CD73}" srcOrd="0" destOrd="0" presId="urn:microsoft.com/office/officeart/2005/8/layout/orgChart1"/>
    <dgm:cxn modelId="{1C754C10-BF87-42CB-AA4A-44CB3BFAE00A}" type="presOf" srcId="{7D7C3FA2-CE75-4B7D-A218-416906B8D917}" destId="{63F8734B-291F-4EE9-8AEC-5D7130065FE8}" srcOrd="1" destOrd="0" presId="urn:microsoft.com/office/officeart/2005/8/layout/orgChart1"/>
    <dgm:cxn modelId="{178D3865-3D1D-436F-B614-B23A11EAD7EE}" type="presOf" srcId="{35016019-1F0E-47A9-A9CB-AE98C0AFCFC1}" destId="{31DAB6FE-4097-4695-9397-7DCCE262634B}" srcOrd="1" destOrd="0" presId="urn:microsoft.com/office/officeart/2005/8/layout/orgChart1"/>
    <dgm:cxn modelId="{EF17C288-FABF-470A-9F6E-6F1AC60C08BE}" srcId="{E420C67E-C4C2-476B-9B47-FFB47D587009}" destId="{0216D3CF-84E5-4443-8082-6C6C297E9A4D}" srcOrd="0" destOrd="0" parTransId="{C3334397-F4C9-43FD-9DE7-786437A51BF8}" sibTransId="{9C27E3D0-AEBB-4C4C-AFEA-8F9AF608B21E}"/>
    <dgm:cxn modelId="{924D7B89-FA93-4138-BFF0-FACB8AEBEC35}" type="presOf" srcId="{E420C67E-C4C2-476B-9B47-FFB47D587009}" destId="{F0ED6141-24DB-4164-A2D4-B51E750525CD}" srcOrd="0" destOrd="0" presId="urn:microsoft.com/office/officeart/2005/8/layout/orgChart1"/>
    <dgm:cxn modelId="{B1E0E80D-1142-4839-9DFD-ED8ED2CC305B}" type="presOf" srcId="{65D088B7-B36E-49AA-84B9-2BC51B326EA1}" destId="{96956835-3386-449C-A89B-65F7C680246D}" srcOrd="0" destOrd="0" presId="urn:microsoft.com/office/officeart/2005/8/layout/orgChart1"/>
    <dgm:cxn modelId="{F6408055-3BB3-4944-978A-C43E33D938B5}" type="presOf" srcId="{35016019-1F0E-47A9-A9CB-AE98C0AFCFC1}" destId="{428A54D9-43F6-47B6-B3A2-FDCE09CB5A97}" srcOrd="0" destOrd="0" presId="urn:microsoft.com/office/officeart/2005/8/layout/orgChart1"/>
    <dgm:cxn modelId="{250ED31E-3A25-4E24-B51D-AD1287ED3DDF}" type="presOf" srcId="{843E3B21-DC9F-4CF8-A7F1-93BF704E47A7}" destId="{AB22B6A5-BFAD-4E5F-BED0-C002FA69FEEF}" srcOrd="1" destOrd="0" presId="urn:microsoft.com/office/officeart/2005/8/layout/orgChart1"/>
    <dgm:cxn modelId="{83482149-F810-4390-9359-CA6D003A4CEE}" type="presOf" srcId="{A26E1133-27F8-42A1-91FE-23383B9ACC99}" destId="{E9F5810C-05C5-4937-8779-609DD6BD5CFD}" srcOrd="0" destOrd="0" presId="urn:microsoft.com/office/officeart/2005/8/layout/orgChart1"/>
    <dgm:cxn modelId="{0D252A7C-EA88-478B-9AB7-96B65AE1E68A}" srcId="{43BDC9E6-B3ED-4E11-B81F-A36F96CA06AD}" destId="{1CE2D78B-C788-472A-8424-7F9A4AB5205E}" srcOrd="2" destOrd="0" parTransId="{6ED4E1AA-EFDD-4E70-836E-3DB36084DE98}" sibTransId="{1D0F051B-C9A8-457A-BE08-985EF4C28172}"/>
    <dgm:cxn modelId="{A96FFD1B-9ABF-4F7F-ABAA-E89C5098F0F7}" type="presOf" srcId="{3EEFE082-C4FA-499A-BA01-E4B8217A4B73}" destId="{A3BC68A0-CABF-4126-884C-C90818E1E26E}" srcOrd="0" destOrd="0" presId="urn:microsoft.com/office/officeart/2005/8/layout/orgChart1"/>
    <dgm:cxn modelId="{2772F5E3-3C90-4AAF-B50F-697C2CE6ACC6}" type="presOf" srcId="{0B5A8C4E-0287-4775-89CD-4F33BAC9506F}" destId="{E4F391C2-584B-4F01-9A6E-BB77AA2A997A}" srcOrd="1" destOrd="0" presId="urn:microsoft.com/office/officeart/2005/8/layout/orgChart1"/>
    <dgm:cxn modelId="{182DC30A-0FE0-46ED-A193-2B78B70E9929}" type="presOf" srcId="{0B5A8C4E-0287-4775-89CD-4F33BAC9506F}" destId="{E8D3E92A-0794-4DFF-ADF5-83A9F9869BDA}" srcOrd="0" destOrd="0" presId="urn:microsoft.com/office/officeart/2005/8/layout/orgChart1"/>
    <dgm:cxn modelId="{A1F494F0-D536-4CFA-90C8-102F1BEE7C41}" type="presOf" srcId="{E420C67E-C4C2-476B-9B47-FFB47D587009}" destId="{45256018-C335-4CDB-9EC5-7AE2ABAC1E00}" srcOrd="1" destOrd="0" presId="urn:microsoft.com/office/officeart/2005/8/layout/orgChart1"/>
    <dgm:cxn modelId="{F944CB30-A5DD-4D67-9B7F-216B47A64EE2}" type="presOf" srcId="{1CE2D78B-C788-472A-8424-7F9A4AB5205E}" destId="{A5F2589C-C16C-45F2-9A3D-F2A6CB2476D1}" srcOrd="0" destOrd="0" presId="urn:microsoft.com/office/officeart/2005/8/layout/orgChart1"/>
    <dgm:cxn modelId="{0524C10A-0BF8-4CDD-9A48-F75C869A2146}" type="presOf" srcId="{C3334397-F4C9-43FD-9DE7-786437A51BF8}" destId="{CC07306D-4BD7-4477-BB61-A954489058D6}" srcOrd="0" destOrd="0" presId="urn:microsoft.com/office/officeart/2005/8/layout/orgChart1"/>
    <dgm:cxn modelId="{F0C0AED6-3BFB-430A-84C4-C1842ECA49F1}" srcId="{1CE2D78B-C788-472A-8424-7F9A4AB5205E}" destId="{35016019-1F0E-47A9-A9CB-AE98C0AFCFC1}" srcOrd="1" destOrd="0" parTransId="{A60BCA66-49BB-4275-9110-8B471B3FC59B}" sibTransId="{549EC933-326F-43C6-A4AD-B0C6604A5CF9}"/>
    <dgm:cxn modelId="{B4680D95-FEFD-4EFA-B4A4-E5FB923C951E}" type="presOf" srcId="{EF032B47-594B-4FE2-82AA-11F85DCB3B05}" destId="{6262AD45-37CE-4E4E-81E1-98A75BFFED33}" srcOrd="0" destOrd="0" presId="urn:microsoft.com/office/officeart/2005/8/layout/orgChart1"/>
    <dgm:cxn modelId="{BF0DC91D-EC32-48A1-86C8-FAB69550103E}" srcId="{843E3B21-DC9F-4CF8-A7F1-93BF704E47A7}" destId="{0B5A8C4E-0287-4775-89CD-4F33BAC9506F}" srcOrd="3" destOrd="0" parTransId="{EF032B47-594B-4FE2-82AA-11F85DCB3B05}" sibTransId="{54EDCA25-2AA2-4C65-8635-EE0E2A7EF78B}"/>
    <dgm:cxn modelId="{5CA1E79F-E65B-4B64-9623-3CA522409B66}" type="presOf" srcId="{9B931718-FC68-4B2E-9854-492BCFE6FE83}" destId="{984A4F3B-0A00-4E5A-9092-1922B8A7FAB3}" srcOrd="0" destOrd="0" presId="urn:microsoft.com/office/officeart/2005/8/layout/orgChart1"/>
    <dgm:cxn modelId="{2E60EBA8-18B6-46B1-AE40-CFEF067A0B4D}" type="presOf" srcId="{A240A1E1-162D-4A6E-A806-B6FF45B3AB68}" destId="{20C564F4-BF5C-4321-B86B-65391CEDEFC7}" srcOrd="1" destOrd="0" presId="urn:microsoft.com/office/officeart/2005/8/layout/orgChart1"/>
    <dgm:cxn modelId="{FA3317D7-BE22-48F6-BD34-154721A16DC8}" type="presOf" srcId="{5AFDEC37-303D-4C39-871D-86C74E419A23}" destId="{52F34D39-2854-4551-9A6B-77D1ED85C57F}" srcOrd="1" destOrd="0" presId="urn:microsoft.com/office/officeart/2005/8/layout/orgChart1"/>
    <dgm:cxn modelId="{2AD21A50-0E2F-4F27-9E50-BA0C24945372}" type="presOf" srcId="{720AE7B9-47AD-4FF9-8447-DF1B8C5FD193}" destId="{1064D61A-5C37-497D-A6F5-6312AB6E3F5A}" srcOrd="0" destOrd="0" presId="urn:microsoft.com/office/officeart/2005/8/layout/orgChart1"/>
    <dgm:cxn modelId="{E4404EF6-D91B-44A6-9DEE-417082C434FF}" type="presOf" srcId="{0216D3CF-84E5-4443-8082-6C6C297E9A4D}" destId="{CBCDE87F-FA6C-44B8-A9C2-1E747BE7F736}" srcOrd="0" destOrd="0" presId="urn:microsoft.com/office/officeart/2005/8/layout/orgChart1"/>
    <dgm:cxn modelId="{B5DBB956-DC74-4F4C-A3E4-D64F74C26A10}" type="presOf" srcId="{43BDC9E6-B3ED-4E11-B81F-A36F96CA06AD}" destId="{1AD90FEA-3135-49C2-A3C0-CFEDDC6405B3}" srcOrd="0" destOrd="0" presId="urn:microsoft.com/office/officeart/2005/8/layout/orgChart1"/>
    <dgm:cxn modelId="{1D7FBD3E-5124-4F3F-8A31-9794D3F3ECD5}" type="presOf" srcId="{38271EC2-1F65-43B3-87B0-6BB11652BC0F}" destId="{590C0E8E-9146-4FF8-9E81-E2F73D38D307}" srcOrd="0" destOrd="0" presId="urn:microsoft.com/office/officeart/2005/8/layout/orgChart1"/>
    <dgm:cxn modelId="{1B6812D4-6C56-4F34-B8E0-7EB070D828E1}" type="presOf" srcId="{14236E25-24F5-4DBC-8E23-FED5A30DEF0E}" destId="{A2B3E9C0-0CE1-4B88-9E71-F7CE1A7F99D7}" srcOrd="0" destOrd="0" presId="urn:microsoft.com/office/officeart/2005/8/layout/orgChart1"/>
    <dgm:cxn modelId="{B218A6ED-1EA5-4739-A37B-730E5DD0DF13}" type="presOf" srcId="{7D7C3FA2-CE75-4B7D-A218-416906B8D917}" destId="{A77E27D0-EFD7-495B-9E1A-5A5371B8AB84}" srcOrd="0" destOrd="0" presId="urn:microsoft.com/office/officeart/2005/8/layout/orgChart1"/>
    <dgm:cxn modelId="{460BF88E-33C9-4A8D-844B-5A517133853E}" type="presOf" srcId="{720AE7B9-47AD-4FF9-8447-DF1B8C5FD193}" destId="{1D0BA542-EABF-46D4-A11D-8954A50A4A27}" srcOrd="1" destOrd="0" presId="urn:microsoft.com/office/officeart/2005/8/layout/orgChart1"/>
    <dgm:cxn modelId="{84F18859-1DEF-4EB4-B51D-020F9CEF8D75}" type="presOf" srcId="{843E3B21-DC9F-4CF8-A7F1-93BF704E47A7}" destId="{5E5C4910-D5C2-4117-9825-0F4E2308A1D4}" srcOrd="0" destOrd="0" presId="urn:microsoft.com/office/officeart/2005/8/layout/orgChart1"/>
    <dgm:cxn modelId="{0A4F78ED-994E-4775-9792-4F8AFB843E13}" srcId="{843E3B21-DC9F-4CF8-A7F1-93BF704E47A7}" destId="{952DAF52-AE68-4172-A6FB-BEC966E0D344}" srcOrd="4" destOrd="0" parTransId="{E5A2EAE4-118D-44B2-B409-8CEB91FA5E76}" sibTransId="{9F184476-99DB-4158-BA52-C9F0136CB0E4}"/>
    <dgm:cxn modelId="{95E51805-7DA4-4EBA-B0AD-335757169C92}" type="presOf" srcId="{A240A1E1-162D-4A6E-A806-B6FF45B3AB68}" destId="{6E033C69-6BA8-4812-AE4E-0022A986E944}" srcOrd="0" destOrd="0" presId="urn:microsoft.com/office/officeart/2005/8/layout/orgChart1"/>
    <dgm:cxn modelId="{1CBDB379-9792-4613-9E0C-5EA72DAB9904}" type="presParOf" srcId="{E9F5810C-05C5-4937-8779-609DD6BD5CFD}" destId="{25A00B3E-FEA8-439F-999E-8DB6BC95DBC0}" srcOrd="0" destOrd="0" presId="urn:microsoft.com/office/officeart/2005/8/layout/orgChart1"/>
    <dgm:cxn modelId="{4FCF2CD7-DF9F-4D3C-8F27-4BE79EAA6F2A}" type="presParOf" srcId="{25A00B3E-FEA8-439F-999E-8DB6BC95DBC0}" destId="{305CB9B7-E4C6-453D-AC39-1DA3FA25C576}" srcOrd="0" destOrd="0" presId="urn:microsoft.com/office/officeart/2005/8/layout/orgChart1"/>
    <dgm:cxn modelId="{D8407117-3113-41B2-9B00-DD60308098B8}" type="presParOf" srcId="{305CB9B7-E4C6-453D-AC39-1DA3FA25C576}" destId="{1AD90FEA-3135-49C2-A3C0-CFEDDC6405B3}" srcOrd="0" destOrd="0" presId="urn:microsoft.com/office/officeart/2005/8/layout/orgChart1"/>
    <dgm:cxn modelId="{6DF243BB-61A8-4701-A0A4-29960BDF6CC0}" type="presParOf" srcId="{305CB9B7-E4C6-453D-AC39-1DA3FA25C576}" destId="{6EF86BC6-06CE-4768-9942-F4420543D5EE}" srcOrd="1" destOrd="0" presId="urn:microsoft.com/office/officeart/2005/8/layout/orgChart1"/>
    <dgm:cxn modelId="{9DEE8670-FB4A-4CAD-BAB1-7D6F424C1ECE}" type="presParOf" srcId="{25A00B3E-FEA8-439F-999E-8DB6BC95DBC0}" destId="{EC72B6B4-B63E-4FE2-8CC2-5FA221770366}" srcOrd="1" destOrd="0" presId="urn:microsoft.com/office/officeart/2005/8/layout/orgChart1"/>
    <dgm:cxn modelId="{381D3353-CD6C-4478-BF1F-959E94638A60}" type="presParOf" srcId="{EC72B6B4-B63E-4FE2-8CC2-5FA221770366}" destId="{A3BC68A0-CABF-4126-884C-C90818E1E26E}" srcOrd="0" destOrd="0" presId="urn:microsoft.com/office/officeart/2005/8/layout/orgChart1"/>
    <dgm:cxn modelId="{484225F2-5F26-435F-AE17-2ECE79C2069F}" type="presParOf" srcId="{EC72B6B4-B63E-4FE2-8CC2-5FA221770366}" destId="{9B84C5AA-6259-445A-8F7A-6D366FCBB4AD}" srcOrd="1" destOrd="0" presId="urn:microsoft.com/office/officeart/2005/8/layout/orgChart1"/>
    <dgm:cxn modelId="{9DA6D44E-F477-4EF8-93F9-A86D2D63B1CB}" type="presParOf" srcId="{9B84C5AA-6259-445A-8F7A-6D366FCBB4AD}" destId="{F324FB99-E565-440D-9319-A2867DA87756}" srcOrd="0" destOrd="0" presId="urn:microsoft.com/office/officeart/2005/8/layout/orgChart1"/>
    <dgm:cxn modelId="{DF43E7C3-9682-41F7-BF7F-D4BF34068749}" type="presParOf" srcId="{F324FB99-E565-440D-9319-A2867DA87756}" destId="{5E5C4910-D5C2-4117-9825-0F4E2308A1D4}" srcOrd="0" destOrd="0" presId="urn:microsoft.com/office/officeart/2005/8/layout/orgChart1"/>
    <dgm:cxn modelId="{FB1642A9-7DAB-458A-80FC-7A1EDE89EF3E}" type="presParOf" srcId="{F324FB99-E565-440D-9319-A2867DA87756}" destId="{AB22B6A5-BFAD-4E5F-BED0-C002FA69FEEF}" srcOrd="1" destOrd="0" presId="urn:microsoft.com/office/officeart/2005/8/layout/orgChart1"/>
    <dgm:cxn modelId="{4DA2047B-37A0-40A7-A84B-FE268B5670E3}" type="presParOf" srcId="{9B84C5AA-6259-445A-8F7A-6D366FCBB4AD}" destId="{16186025-4BC6-46E2-97F6-F9084F02632D}" srcOrd="1" destOrd="0" presId="urn:microsoft.com/office/officeart/2005/8/layout/orgChart1"/>
    <dgm:cxn modelId="{A76EC0CD-BB13-4B68-9D52-E1FDD461AC8C}" type="presParOf" srcId="{16186025-4BC6-46E2-97F6-F9084F02632D}" destId="{A83ED5F7-10A0-45C9-B814-5804FA76917E}" srcOrd="0" destOrd="0" presId="urn:microsoft.com/office/officeart/2005/8/layout/orgChart1"/>
    <dgm:cxn modelId="{D1320DF9-50FF-464A-92D2-2E61CA95A7EE}" type="presParOf" srcId="{16186025-4BC6-46E2-97F6-F9084F02632D}" destId="{D44CFE56-6231-4D51-BDF4-F9842887D455}" srcOrd="1" destOrd="0" presId="urn:microsoft.com/office/officeart/2005/8/layout/orgChart1"/>
    <dgm:cxn modelId="{1BFD47B4-9818-4AB6-871C-01CFF9135BFC}" type="presParOf" srcId="{D44CFE56-6231-4D51-BDF4-F9842887D455}" destId="{F340CB26-8421-44AC-9592-9BB7E87D96B8}" srcOrd="0" destOrd="0" presId="urn:microsoft.com/office/officeart/2005/8/layout/orgChart1"/>
    <dgm:cxn modelId="{A79C4CB7-66FF-48CC-89C4-75E5E1EC8737}" type="presParOf" srcId="{F340CB26-8421-44AC-9592-9BB7E87D96B8}" destId="{1064D61A-5C37-497D-A6F5-6312AB6E3F5A}" srcOrd="0" destOrd="0" presId="urn:microsoft.com/office/officeart/2005/8/layout/orgChart1"/>
    <dgm:cxn modelId="{61BB8976-F9F7-42BA-B8DA-E2E8B77A161D}" type="presParOf" srcId="{F340CB26-8421-44AC-9592-9BB7E87D96B8}" destId="{1D0BA542-EABF-46D4-A11D-8954A50A4A27}" srcOrd="1" destOrd="0" presId="urn:microsoft.com/office/officeart/2005/8/layout/orgChart1"/>
    <dgm:cxn modelId="{4040A9D1-4129-40EF-8677-7941462E4BF6}" type="presParOf" srcId="{D44CFE56-6231-4D51-BDF4-F9842887D455}" destId="{CB5479DD-BB83-4A7F-A8FE-0204BBEBDE57}" srcOrd="1" destOrd="0" presId="urn:microsoft.com/office/officeart/2005/8/layout/orgChart1"/>
    <dgm:cxn modelId="{3796CC92-9FB8-4181-BCBC-703EA10AA8EA}" type="presParOf" srcId="{D44CFE56-6231-4D51-BDF4-F9842887D455}" destId="{72F3B94E-5E2C-4DF9-BCD5-3D635951032C}" srcOrd="2" destOrd="0" presId="urn:microsoft.com/office/officeart/2005/8/layout/orgChart1"/>
    <dgm:cxn modelId="{9B7F7E7B-E8E8-4039-B26D-0F4609D19AE9}" type="presParOf" srcId="{16186025-4BC6-46E2-97F6-F9084F02632D}" destId="{A2B3E9C0-0CE1-4B88-9E71-F7CE1A7F99D7}" srcOrd="2" destOrd="0" presId="urn:microsoft.com/office/officeart/2005/8/layout/orgChart1"/>
    <dgm:cxn modelId="{C32AF075-4100-4C0D-8AA8-86907C54A807}" type="presParOf" srcId="{16186025-4BC6-46E2-97F6-F9084F02632D}" destId="{16797127-63BB-4E8C-8005-5E72B3FF9B3C}" srcOrd="3" destOrd="0" presId="urn:microsoft.com/office/officeart/2005/8/layout/orgChart1"/>
    <dgm:cxn modelId="{69D0F14E-A52C-499E-92C2-1356E1EE9AF5}" type="presParOf" srcId="{16797127-63BB-4E8C-8005-5E72B3FF9B3C}" destId="{4DFEF789-40AF-4966-81EA-F7C1CBE52773}" srcOrd="0" destOrd="0" presId="urn:microsoft.com/office/officeart/2005/8/layout/orgChart1"/>
    <dgm:cxn modelId="{019BB789-3AD7-41C6-B9CA-E6B70301E957}" type="presParOf" srcId="{4DFEF789-40AF-4966-81EA-F7C1CBE52773}" destId="{A77E27D0-EFD7-495B-9E1A-5A5371B8AB84}" srcOrd="0" destOrd="0" presId="urn:microsoft.com/office/officeart/2005/8/layout/orgChart1"/>
    <dgm:cxn modelId="{DB595D97-CBE0-4A24-9B0C-1FBB8FBE40BC}" type="presParOf" srcId="{4DFEF789-40AF-4966-81EA-F7C1CBE52773}" destId="{63F8734B-291F-4EE9-8AEC-5D7130065FE8}" srcOrd="1" destOrd="0" presId="urn:microsoft.com/office/officeart/2005/8/layout/orgChart1"/>
    <dgm:cxn modelId="{BF04ECC8-7BEE-479E-8B37-FE6B5EDFA29A}" type="presParOf" srcId="{16797127-63BB-4E8C-8005-5E72B3FF9B3C}" destId="{F1241E53-1837-4666-9A60-B6AD42958195}" srcOrd="1" destOrd="0" presId="urn:microsoft.com/office/officeart/2005/8/layout/orgChart1"/>
    <dgm:cxn modelId="{5CA2374A-5CF3-40D0-9BAB-C579DE2D571E}" type="presParOf" srcId="{16797127-63BB-4E8C-8005-5E72B3FF9B3C}" destId="{E1079AD2-0C8E-44F0-9596-6D504E6161CE}" srcOrd="2" destOrd="0" presId="urn:microsoft.com/office/officeart/2005/8/layout/orgChart1"/>
    <dgm:cxn modelId="{B0B6EC08-B269-4D25-BC51-14EF973A39E4}" type="presParOf" srcId="{16186025-4BC6-46E2-97F6-F9084F02632D}" destId="{50C84909-550F-4BDC-8966-B86E5E1786AE}" srcOrd="4" destOrd="0" presId="urn:microsoft.com/office/officeart/2005/8/layout/orgChart1"/>
    <dgm:cxn modelId="{FF204702-56D2-4AD0-B027-9415D5ABD129}" type="presParOf" srcId="{16186025-4BC6-46E2-97F6-F9084F02632D}" destId="{EBCAC25B-3E97-4708-AA7E-0D44E4C06B2C}" srcOrd="5" destOrd="0" presId="urn:microsoft.com/office/officeart/2005/8/layout/orgChart1"/>
    <dgm:cxn modelId="{E473866F-1ABB-470B-8392-E6A8976AF3E3}" type="presParOf" srcId="{EBCAC25B-3E97-4708-AA7E-0D44E4C06B2C}" destId="{56A22D43-7DD1-46E6-B06A-D1D662EE6DAD}" srcOrd="0" destOrd="0" presId="urn:microsoft.com/office/officeart/2005/8/layout/orgChart1"/>
    <dgm:cxn modelId="{D8DF9865-396E-49ED-9534-3156E663C980}" type="presParOf" srcId="{56A22D43-7DD1-46E6-B06A-D1D662EE6DAD}" destId="{984A4F3B-0A00-4E5A-9092-1922B8A7FAB3}" srcOrd="0" destOrd="0" presId="urn:microsoft.com/office/officeart/2005/8/layout/orgChart1"/>
    <dgm:cxn modelId="{5A577BF1-71D9-494F-8969-8307DC72B3FC}" type="presParOf" srcId="{56A22D43-7DD1-46E6-B06A-D1D662EE6DAD}" destId="{700B55C8-272E-490B-AB5F-A5C6369E8C79}" srcOrd="1" destOrd="0" presId="urn:microsoft.com/office/officeart/2005/8/layout/orgChart1"/>
    <dgm:cxn modelId="{872C63A8-3265-48D9-AC98-567977813161}" type="presParOf" srcId="{EBCAC25B-3E97-4708-AA7E-0D44E4C06B2C}" destId="{18D6C1B6-F902-4ABE-BB60-086B907C1C3A}" srcOrd="1" destOrd="0" presId="urn:microsoft.com/office/officeart/2005/8/layout/orgChart1"/>
    <dgm:cxn modelId="{0E00498E-9586-40A9-A405-1D165B3BFA04}" type="presParOf" srcId="{EBCAC25B-3E97-4708-AA7E-0D44E4C06B2C}" destId="{4E3F742A-A2F5-4971-A026-90DA3CFE956C}" srcOrd="2" destOrd="0" presId="urn:microsoft.com/office/officeart/2005/8/layout/orgChart1"/>
    <dgm:cxn modelId="{EAFF4104-DC7D-4334-8C62-B4A204B94AEA}" type="presParOf" srcId="{16186025-4BC6-46E2-97F6-F9084F02632D}" destId="{6262AD45-37CE-4E4E-81E1-98A75BFFED33}" srcOrd="6" destOrd="0" presId="urn:microsoft.com/office/officeart/2005/8/layout/orgChart1"/>
    <dgm:cxn modelId="{2423FCAF-C59A-4039-95DE-FE68D1AA3E0D}" type="presParOf" srcId="{16186025-4BC6-46E2-97F6-F9084F02632D}" destId="{3BDA7C33-CC97-412E-A3EC-9F252E4F5A5A}" srcOrd="7" destOrd="0" presId="urn:microsoft.com/office/officeart/2005/8/layout/orgChart1"/>
    <dgm:cxn modelId="{55AE0CF4-E13D-4582-9742-B19EFB02C60C}" type="presParOf" srcId="{3BDA7C33-CC97-412E-A3EC-9F252E4F5A5A}" destId="{2723E1CD-4CEE-4F07-87CD-20B12A8FC827}" srcOrd="0" destOrd="0" presId="urn:microsoft.com/office/officeart/2005/8/layout/orgChart1"/>
    <dgm:cxn modelId="{C87D36C7-2CA6-4647-B59D-CB286FEDE64B}" type="presParOf" srcId="{2723E1CD-4CEE-4F07-87CD-20B12A8FC827}" destId="{E8D3E92A-0794-4DFF-ADF5-83A9F9869BDA}" srcOrd="0" destOrd="0" presId="urn:microsoft.com/office/officeart/2005/8/layout/orgChart1"/>
    <dgm:cxn modelId="{401BF37C-6597-4BF7-9C38-37F047C19267}" type="presParOf" srcId="{2723E1CD-4CEE-4F07-87CD-20B12A8FC827}" destId="{E4F391C2-584B-4F01-9A6E-BB77AA2A997A}" srcOrd="1" destOrd="0" presId="urn:microsoft.com/office/officeart/2005/8/layout/orgChart1"/>
    <dgm:cxn modelId="{FE97C2A9-A33C-4DB2-8B28-C81DABC85044}" type="presParOf" srcId="{3BDA7C33-CC97-412E-A3EC-9F252E4F5A5A}" destId="{B2E11ABB-6C93-42E1-91A1-DB542954BA14}" srcOrd="1" destOrd="0" presId="urn:microsoft.com/office/officeart/2005/8/layout/orgChart1"/>
    <dgm:cxn modelId="{D9A5B5B2-D1DB-4D1C-89D7-EAF383EB400D}" type="presParOf" srcId="{3BDA7C33-CC97-412E-A3EC-9F252E4F5A5A}" destId="{7916A290-6350-41CF-9D02-42ED9408F54E}" srcOrd="2" destOrd="0" presId="urn:microsoft.com/office/officeart/2005/8/layout/orgChart1"/>
    <dgm:cxn modelId="{5C28E093-82A9-438A-B281-9587BB99EEF0}" type="presParOf" srcId="{16186025-4BC6-46E2-97F6-F9084F02632D}" destId="{0AD99682-343B-4485-A14B-DE65F037093C}" srcOrd="8" destOrd="0" presId="urn:microsoft.com/office/officeart/2005/8/layout/orgChart1"/>
    <dgm:cxn modelId="{D77FAD5F-3346-4D7C-9135-6AC1B95394B4}" type="presParOf" srcId="{16186025-4BC6-46E2-97F6-F9084F02632D}" destId="{66F58E59-4021-466D-B511-8DE0ABD9D719}" srcOrd="9" destOrd="0" presId="urn:microsoft.com/office/officeart/2005/8/layout/orgChart1"/>
    <dgm:cxn modelId="{D1FD9AE0-EC13-4B96-B23F-124F907CFF3E}" type="presParOf" srcId="{66F58E59-4021-466D-B511-8DE0ABD9D719}" destId="{2898F04E-976D-464B-AD88-34BE6A9B7381}" srcOrd="0" destOrd="0" presId="urn:microsoft.com/office/officeart/2005/8/layout/orgChart1"/>
    <dgm:cxn modelId="{6BDBCE7B-A5D3-4DB0-A84F-8F80E3F4161D}" type="presParOf" srcId="{2898F04E-976D-464B-AD88-34BE6A9B7381}" destId="{A3E484CC-77C3-47AE-B304-C3AADDD9ACD2}" srcOrd="0" destOrd="0" presId="urn:microsoft.com/office/officeart/2005/8/layout/orgChart1"/>
    <dgm:cxn modelId="{BF73C373-93AC-472D-B942-82FFA69AC061}" type="presParOf" srcId="{2898F04E-976D-464B-AD88-34BE6A9B7381}" destId="{D14B7165-E531-4D80-8A5A-747F5271B944}" srcOrd="1" destOrd="0" presId="urn:microsoft.com/office/officeart/2005/8/layout/orgChart1"/>
    <dgm:cxn modelId="{59FEB817-595F-4E67-8B26-F51022B7E9D2}" type="presParOf" srcId="{66F58E59-4021-466D-B511-8DE0ABD9D719}" destId="{E6B0D5A4-884A-4729-864C-B0C32C46727A}" srcOrd="1" destOrd="0" presId="urn:microsoft.com/office/officeart/2005/8/layout/orgChart1"/>
    <dgm:cxn modelId="{0D920286-2A12-458E-8C08-AA40C45B492A}" type="presParOf" srcId="{66F58E59-4021-466D-B511-8DE0ABD9D719}" destId="{3C160525-5F33-4057-894A-F0C79444ED80}" srcOrd="2" destOrd="0" presId="urn:microsoft.com/office/officeart/2005/8/layout/orgChart1"/>
    <dgm:cxn modelId="{D0285DEF-1CAF-4AD9-91A9-423CA224551C}" type="presParOf" srcId="{16186025-4BC6-46E2-97F6-F9084F02632D}" destId="{590C0E8E-9146-4FF8-9E81-E2F73D38D307}" srcOrd="10" destOrd="0" presId="urn:microsoft.com/office/officeart/2005/8/layout/orgChart1"/>
    <dgm:cxn modelId="{FDED2350-E3BE-4BFF-9A35-120A99F61DBC}" type="presParOf" srcId="{16186025-4BC6-46E2-97F6-F9084F02632D}" destId="{B8D035F0-4E87-47D4-93A1-5B4102E15684}" srcOrd="11" destOrd="0" presId="urn:microsoft.com/office/officeart/2005/8/layout/orgChart1"/>
    <dgm:cxn modelId="{AFDADFEF-63E4-4893-A641-2AD8575AF43E}" type="presParOf" srcId="{B8D035F0-4E87-47D4-93A1-5B4102E15684}" destId="{B9618333-C328-4BA9-9084-341029DCBB82}" srcOrd="0" destOrd="0" presId="urn:microsoft.com/office/officeart/2005/8/layout/orgChart1"/>
    <dgm:cxn modelId="{5E76F6FD-F2FF-4E0C-B9D5-D06242959616}" type="presParOf" srcId="{B9618333-C328-4BA9-9084-341029DCBB82}" destId="{BFAB0065-46B4-4707-8B1B-5AD5D852CD73}" srcOrd="0" destOrd="0" presId="urn:microsoft.com/office/officeart/2005/8/layout/orgChart1"/>
    <dgm:cxn modelId="{92C4E370-BF00-45EF-9F6E-BBCD8A1E910A}" type="presParOf" srcId="{B9618333-C328-4BA9-9084-341029DCBB82}" destId="{52F34D39-2854-4551-9A6B-77D1ED85C57F}" srcOrd="1" destOrd="0" presId="urn:microsoft.com/office/officeart/2005/8/layout/orgChart1"/>
    <dgm:cxn modelId="{2618AC89-6877-4304-BFCA-DDC2716293F7}" type="presParOf" srcId="{B8D035F0-4E87-47D4-93A1-5B4102E15684}" destId="{6B99D04E-64C1-46E8-9CAF-CC329F9FE5FF}" srcOrd="1" destOrd="0" presId="urn:microsoft.com/office/officeart/2005/8/layout/orgChart1"/>
    <dgm:cxn modelId="{0739A581-F08D-4A26-9EEE-FC5E25F65B76}" type="presParOf" srcId="{B8D035F0-4E87-47D4-93A1-5B4102E15684}" destId="{6E716853-CC29-454F-B69D-A971E0A337C3}" srcOrd="2" destOrd="0" presId="urn:microsoft.com/office/officeart/2005/8/layout/orgChart1"/>
    <dgm:cxn modelId="{B4F8B900-35C0-4D95-93AA-40233E58D7EA}" type="presParOf" srcId="{9B84C5AA-6259-445A-8F7A-6D366FCBB4AD}" destId="{82355405-192E-42E7-B905-7A6FE845C6D9}" srcOrd="2" destOrd="0" presId="urn:microsoft.com/office/officeart/2005/8/layout/orgChart1"/>
    <dgm:cxn modelId="{B2F2D0FD-08C4-4290-A4FE-F50286CEE671}" type="presParOf" srcId="{EC72B6B4-B63E-4FE2-8CC2-5FA221770366}" destId="{96956835-3386-449C-A89B-65F7C680246D}" srcOrd="2" destOrd="0" presId="urn:microsoft.com/office/officeart/2005/8/layout/orgChart1"/>
    <dgm:cxn modelId="{5D9F79F2-536E-4966-8C9E-F31F3CB672F7}" type="presParOf" srcId="{EC72B6B4-B63E-4FE2-8CC2-5FA221770366}" destId="{DBD72DFC-EF80-4973-B6E5-D3C9AB052F9E}" srcOrd="3" destOrd="0" presId="urn:microsoft.com/office/officeart/2005/8/layout/orgChart1"/>
    <dgm:cxn modelId="{FD35B857-262A-42E2-AAB6-FBDC5E67B13F}" type="presParOf" srcId="{DBD72DFC-EF80-4973-B6E5-D3C9AB052F9E}" destId="{72B31F8C-4060-4D82-8D0A-8A332812C464}" srcOrd="0" destOrd="0" presId="urn:microsoft.com/office/officeart/2005/8/layout/orgChart1"/>
    <dgm:cxn modelId="{5D43B6D5-6343-4717-B852-2CA80D0F4677}" type="presParOf" srcId="{72B31F8C-4060-4D82-8D0A-8A332812C464}" destId="{F0ED6141-24DB-4164-A2D4-B51E750525CD}" srcOrd="0" destOrd="0" presId="urn:microsoft.com/office/officeart/2005/8/layout/orgChart1"/>
    <dgm:cxn modelId="{4A19173B-3B83-4201-9821-CD889D07E760}" type="presParOf" srcId="{72B31F8C-4060-4D82-8D0A-8A332812C464}" destId="{45256018-C335-4CDB-9EC5-7AE2ABAC1E00}" srcOrd="1" destOrd="0" presId="urn:microsoft.com/office/officeart/2005/8/layout/orgChart1"/>
    <dgm:cxn modelId="{069BFB31-C01B-49A5-A4C6-C53D2EF41AAA}" type="presParOf" srcId="{DBD72DFC-EF80-4973-B6E5-D3C9AB052F9E}" destId="{2A7D3334-4741-4667-BCDB-1A78491B4FD4}" srcOrd="1" destOrd="0" presId="urn:microsoft.com/office/officeart/2005/8/layout/orgChart1"/>
    <dgm:cxn modelId="{83B46C4E-4BE1-495B-987D-03F530AA4E27}" type="presParOf" srcId="{2A7D3334-4741-4667-BCDB-1A78491B4FD4}" destId="{CC07306D-4BD7-4477-BB61-A954489058D6}" srcOrd="0" destOrd="0" presId="urn:microsoft.com/office/officeart/2005/8/layout/orgChart1"/>
    <dgm:cxn modelId="{BC846E0F-E950-4CE0-8EEB-19F1722D1315}" type="presParOf" srcId="{2A7D3334-4741-4667-BCDB-1A78491B4FD4}" destId="{0ECB6EE9-64D7-46FB-8A0A-B83CD370F0B4}" srcOrd="1" destOrd="0" presId="urn:microsoft.com/office/officeart/2005/8/layout/orgChart1"/>
    <dgm:cxn modelId="{FA1DDB17-0B90-4F4E-B306-B8FBC22B862B}" type="presParOf" srcId="{0ECB6EE9-64D7-46FB-8A0A-B83CD370F0B4}" destId="{9D96850F-E3A0-4435-B942-5F48B18AC5F4}" srcOrd="0" destOrd="0" presId="urn:microsoft.com/office/officeart/2005/8/layout/orgChart1"/>
    <dgm:cxn modelId="{43A35F97-5C6A-44DB-88B5-CFD9690D67AB}" type="presParOf" srcId="{9D96850F-E3A0-4435-B942-5F48B18AC5F4}" destId="{CBCDE87F-FA6C-44B8-A9C2-1E747BE7F736}" srcOrd="0" destOrd="0" presId="urn:microsoft.com/office/officeart/2005/8/layout/orgChart1"/>
    <dgm:cxn modelId="{3FA41314-7813-4EC4-ACF7-D6136C3C07B5}" type="presParOf" srcId="{9D96850F-E3A0-4435-B942-5F48B18AC5F4}" destId="{CF9F174C-7D69-49F6-A7FE-7ED9990EB82A}" srcOrd="1" destOrd="0" presId="urn:microsoft.com/office/officeart/2005/8/layout/orgChart1"/>
    <dgm:cxn modelId="{D049D6B7-2361-4D22-A684-3A55188D8EB7}" type="presParOf" srcId="{0ECB6EE9-64D7-46FB-8A0A-B83CD370F0B4}" destId="{1934090D-CBAE-4AB8-9BE7-C9762145998D}" srcOrd="1" destOrd="0" presId="urn:microsoft.com/office/officeart/2005/8/layout/orgChart1"/>
    <dgm:cxn modelId="{359EBD07-B02B-481F-9F22-2EEBC8D29854}" type="presParOf" srcId="{0ECB6EE9-64D7-46FB-8A0A-B83CD370F0B4}" destId="{7BCCCAFF-8404-460B-9A5A-B8BF91057993}" srcOrd="2" destOrd="0" presId="urn:microsoft.com/office/officeart/2005/8/layout/orgChart1"/>
    <dgm:cxn modelId="{DE8505FA-E08D-40C0-8640-106E0CF3ED2C}" type="presParOf" srcId="{DBD72DFC-EF80-4973-B6E5-D3C9AB052F9E}" destId="{1DBB8D6B-1EA9-448A-B87B-A162873E7B21}" srcOrd="2" destOrd="0" presId="urn:microsoft.com/office/officeart/2005/8/layout/orgChart1"/>
    <dgm:cxn modelId="{3096ED36-B1F6-40FE-9E01-58DFC88039B7}" type="presParOf" srcId="{EC72B6B4-B63E-4FE2-8CC2-5FA221770366}" destId="{C137CAE9-66E1-459B-A733-9B53B02E07AF}" srcOrd="4" destOrd="0" presId="urn:microsoft.com/office/officeart/2005/8/layout/orgChart1"/>
    <dgm:cxn modelId="{1F6AEC94-59F4-439D-9AE9-75655C843239}" type="presParOf" srcId="{EC72B6B4-B63E-4FE2-8CC2-5FA221770366}" destId="{35CBA655-D40F-4A2B-B71A-711D392B5A84}" srcOrd="5" destOrd="0" presId="urn:microsoft.com/office/officeart/2005/8/layout/orgChart1"/>
    <dgm:cxn modelId="{127F1620-1B80-40F3-90CD-E67D5C11637D}" type="presParOf" srcId="{35CBA655-D40F-4A2B-B71A-711D392B5A84}" destId="{9DC86AED-B6DB-4100-9EA0-4E60FFB4A367}" srcOrd="0" destOrd="0" presId="urn:microsoft.com/office/officeart/2005/8/layout/orgChart1"/>
    <dgm:cxn modelId="{2542EE90-9302-4D87-AAB8-D23B6713B4CF}" type="presParOf" srcId="{9DC86AED-B6DB-4100-9EA0-4E60FFB4A367}" destId="{A5F2589C-C16C-45F2-9A3D-F2A6CB2476D1}" srcOrd="0" destOrd="0" presId="urn:microsoft.com/office/officeart/2005/8/layout/orgChart1"/>
    <dgm:cxn modelId="{DB732C4B-1531-4F0F-B2E5-54C8C2FF6DD7}" type="presParOf" srcId="{9DC86AED-B6DB-4100-9EA0-4E60FFB4A367}" destId="{6D7B6648-0B7F-4E1F-B6C5-CE0E2F04B9FF}" srcOrd="1" destOrd="0" presId="urn:microsoft.com/office/officeart/2005/8/layout/orgChart1"/>
    <dgm:cxn modelId="{22947957-6C2C-4B3C-A4DD-EC909DFFB101}" type="presParOf" srcId="{35CBA655-D40F-4A2B-B71A-711D392B5A84}" destId="{29CE8073-D253-4588-B954-7167D33B1947}" srcOrd="1" destOrd="0" presId="urn:microsoft.com/office/officeart/2005/8/layout/orgChart1"/>
    <dgm:cxn modelId="{D9990D76-A037-49E4-9B37-24599C570405}" type="presParOf" srcId="{29CE8073-D253-4588-B954-7167D33B1947}" destId="{AEDC7120-FE6F-49D8-95F2-AB1B2B6AC9A8}" srcOrd="0" destOrd="0" presId="urn:microsoft.com/office/officeart/2005/8/layout/orgChart1"/>
    <dgm:cxn modelId="{91CF1609-6E6C-4AA2-8EE3-FC8852F4620B}" type="presParOf" srcId="{29CE8073-D253-4588-B954-7167D33B1947}" destId="{F65159AB-B6AE-4C58-BE85-DB4966F15FBA}" srcOrd="1" destOrd="0" presId="urn:microsoft.com/office/officeart/2005/8/layout/orgChart1"/>
    <dgm:cxn modelId="{93B75DC5-D611-4035-9F55-5556CA5D2C8E}" type="presParOf" srcId="{F65159AB-B6AE-4C58-BE85-DB4966F15FBA}" destId="{4413A7CD-B07B-4481-95F7-63264BEB8326}" srcOrd="0" destOrd="0" presId="urn:microsoft.com/office/officeart/2005/8/layout/orgChart1"/>
    <dgm:cxn modelId="{CE4A0120-E658-46A6-89EB-D67CE58EC129}" type="presParOf" srcId="{4413A7CD-B07B-4481-95F7-63264BEB8326}" destId="{6E033C69-6BA8-4812-AE4E-0022A986E944}" srcOrd="0" destOrd="0" presId="urn:microsoft.com/office/officeart/2005/8/layout/orgChart1"/>
    <dgm:cxn modelId="{514B0471-1557-4D91-8EE4-3C5BDBAB8AFF}" type="presParOf" srcId="{4413A7CD-B07B-4481-95F7-63264BEB8326}" destId="{20C564F4-BF5C-4321-B86B-65391CEDEFC7}" srcOrd="1" destOrd="0" presId="urn:microsoft.com/office/officeart/2005/8/layout/orgChart1"/>
    <dgm:cxn modelId="{12E39583-2862-4AFB-8F37-71403FDCECA4}" type="presParOf" srcId="{F65159AB-B6AE-4C58-BE85-DB4966F15FBA}" destId="{7C0A51FE-5187-4FBA-A9F6-DFFAA1B3DD3E}" srcOrd="1" destOrd="0" presId="urn:microsoft.com/office/officeart/2005/8/layout/orgChart1"/>
    <dgm:cxn modelId="{D1876284-347B-43D2-8C6F-E2896C0B46BA}" type="presParOf" srcId="{F65159AB-B6AE-4C58-BE85-DB4966F15FBA}" destId="{A5F1F6CB-B812-4FEA-ACD0-E838992C8274}" srcOrd="2" destOrd="0" presId="urn:microsoft.com/office/officeart/2005/8/layout/orgChart1"/>
    <dgm:cxn modelId="{22C42075-4AFC-4052-9103-33BC9A5A7E01}" type="presParOf" srcId="{29CE8073-D253-4588-B954-7167D33B1947}" destId="{28E82B1A-B1F2-4CC5-9B64-B60015CBF624}" srcOrd="2" destOrd="0" presId="urn:microsoft.com/office/officeart/2005/8/layout/orgChart1"/>
    <dgm:cxn modelId="{CD5EE972-D374-4F44-A8E4-82B0430F26D7}" type="presParOf" srcId="{29CE8073-D253-4588-B954-7167D33B1947}" destId="{B22DAA2B-22C5-4EFA-A0A6-9AD0235D2103}" srcOrd="3" destOrd="0" presId="urn:microsoft.com/office/officeart/2005/8/layout/orgChart1"/>
    <dgm:cxn modelId="{7AABEA55-327C-48F0-91E5-8061E6FF79C3}" type="presParOf" srcId="{B22DAA2B-22C5-4EFA-A0A6-9AD0235D2103}" destId="{514CA667-AA27-4D37-9311-1D5D85EF643D}" srcOrd="0" destOrd="0" presId="urn:microsoft.com/office/officeart/2005/8/layout/orgChart1"/>
    <dgm:cxn modelId="{ACADF1AC-E017-4E1A-BE99-C3F64818F1CD}" type="presParOf" srcId="{514CA667-AA27-4D37-9311-1D5D85EF643D}" destId="{428A54D9-43F6-47B6-B3A2-FDCE09CB5A97}" srcOrd="0" destOrd="0" presId="urn:microsoft.com/office/officeart/2005/8/layout/orgChart1"/>
    <dgm:cxn modelId="{6D82C991-8663-4403-9DF9-47C106D5AAF9}" type="presParOf" srcId="{514CA667-AA27-4D37-9311-1D5D85EF643D}" destId="{31DAB6FE-4097-4695-9397-7DCCE262634B}" srcOrd="1" destOrd="0" presId="urn:microsoft.com/office/officeart/2005/8/layout/orgChart1"/>
    <dgm:cxn modelId="{AA4AC4AC-ACAD-4243-800A-B46C29F25B4D}" type="presParOf" srcId="{B22DAA2B-22C5-4EFA-A0A6-9AD0235D2103}" destId="{F4CC167B-F2F2-455C-9A45-823F18AFEF9A}" srcOrd="1" destOrd="0" presId="urn:microsoft.com/office/officeart/2005/8/layout/orgChart1"/>
    <dgm:cxn modelId="{C0378CB5-987C-4CEA-B7D2-4D3FC212813C}" type="presParOf" srcId="{B22DAA2B-22C5-4EFA-A0A6-9AD0235D2103}" destId="{A5D0575B-48E0-4A98-88E8-8B4961A6F762}" srcOrd="2" destOrd="0" presId="urn:microsoft.com/office/officeart/2005/8/layout/orgChart1"/>
    <dgm:cxn modelId="{88311BF4-0BBF-43DE-8FFB-24332D2B2B82}" type="presParOf" srcId="{35CBA655-D40F-4A2B-B71A-711D392B5A84}" destId="{528156B2-647C-44D5-ABAD-EBDCDF85B348}" srcOrd="2" destOrd="0" presId="urn:microsoft.com/office/officeart/2005/8/layout/orgChart1"/>
    <dgm:cxn modelId="{A19A1F8F-58E5-4708-ABC2-07B15B15D35A}" type="presParOf" srcId="{25A00B3E-FEA8-439F-999E-8DB6BC95DBC0}" destId="{B87F60ED-85BE-4872-BA6E-CDCB9CBDC6A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6E760A-4B69-4701-AE07-CDC836D2FC5F}">
      <dsp:nvSpPr>
        <dsp:cNvPr id="0" name=""/>
        <dsp:cNvSpPr/>
      </dsp:nvSpPr>
      <dsp:spPr>
        <a:xfrm>
          <a:off x="6500270" y="3505203"/>
          <a:ext cx="249735" cy="11002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00289"/>
              </a:lnTo>
              <a:lnTo>
                <a:pt x="249735" y="1100289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96F561-0193-4DAC-94AB-FC3EEAD38895}">
      <dsp:nvSpPr>
        <dsp:cNvPr id="0" name=""/>
        <dsp:cNvSpPr/>
      </dsp:nvSpPr>
      <dsp:spPr>
        <a:xfrm>
          <a:off x="5178356" y="2035193"/>
          <a:ext cx="1974712" cy="3427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1359"/>
              </a:lnTo>
              <a:lnTo>
                <a:pt x="1974712" y="171359"/>
              </a:lnTo>
              <a:lnTo>
                <a:pt x="1974712" y="34271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F79E16A-DCA2-4B41-B9FB-041F5F8C0836}">
      <dsp:nvSpPr>
        <dsp:cNvPr id="0" name=""/>
        <dsp:cNvSpPr/>
      </dsp:nvSpPr>
      <dsp:spPr>
        <a:xfrm>
          <a:off x="4525558" y="3511690"/>
          <a:ext cx="275039" cy="11002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00289"/>
              </a:lnTo>
              <a:lnTo>
                <a:pt x="275039" y="1100289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C6CEE4-3F67-4FA6-8639-65EC4CCFF4D9}">
      <dsp:nvSpPr>
        <dsp:cNvPr id="0" name=""/>
        <dsp:cNvSpPr/>
      </dsp:nvSpPr>
      <dsp:spPr>
        <a:xfrm>
          <a:off x="5132636" y="2035193"/>
          <a:ext cx="91440" cy="34271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271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841EBD-1CB9-4926-9414-31830C10A48C}">
      <dsp:nvSpPr>
        <dsp:cNvPr id="0" name=""/>
        <dsp:cNvSpPr/>
      </dsp:nvSpPr>
      <dsp:spPr>
        <a:xfrm>
          <a:off x="2550846" y="3810002"/>
          <a:ext cx="268560" cy="8111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11198"/>
              </a:lnTo>
              <a:lnTo>
                <a:pt x="268560" y="811198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3A634C-FD35-4F86-A796-3DD5919F86EB}">
      <dsp:nvSpPr>
        <dsp:cNvPr id="0" name=""/>
        <dsp:cNvSpPr/>
      </dsp:nvSpPr>
      <dsp:spPr>
        <a:xfrm>
          <a:off x="3203643" y="2035193"/>
          <a:ext cx="1974712" cy="342718"/>
        </a:xfrm>
        <a:custGeom>
          <a:avLst/>
          <a:gdLst/>
          <a:ahLst/>
          <a:cxnLst/>
          <a:rect l="0" t="0" r="0" b="0"/>
          <a:pathLst>
            <a:path>
              <a:moveTo>
                <a:pt x="1974712" y="0"/>
              </a:moveTo>
              <a:lnTo>
                <a:pt x="1974712" y="171359"/>
              </a:lnTo>
              <a:lnTo>
                <a:pt x="0" y="171359"/>
              </a:lnTo>
              <a:lnTo>
                <a:pt x="0" y="34271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62ECC0-9994-4B01-9E77-D5C13C496118}">
      <dsp:nvSpPr>
        <dsp:cNvPr id="0" name=""/>
        <dsp:cNvSpPr/>
      </dsp:nvSpPr>
      <dsp:spPr>
        <a:xfrm>
          <a:off x="3025789" y="815996"/>
          <a:ext cx="2152566" cy="4032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1841"/>
              </a:lnTo>
              <a:lnTo>
                <a:pt x="2152566" y="231841"/>
              </a:lnTo>
              <a:lnTo>
                <a:pt x="2152566" y="40320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DC7120-FE6F-49D8-95F2-AB1B2B6AC9A8}">
      <dsp:nvSpPr>
        <dsp:cNvPr id="0" name=""/>
        <dsp:cNvSpPr/>
      </dsp:nvSpPr>
      <dsp:spPr>
        <a:xfrm>
          <a:off x="168136" y="2035193"/>
          <a:ext cx="244799" cy="7507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50716"/>
              </a:lnTo>
              <a:lnTo>
                <a:pt x="244799" y="750716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BC68A0-CABF-4126-884C-C90818E1E26E}">
      <dsp:nvSpPr>
        <dsp:cNvPr id="0" name=""/>
        <dsp:cNvSpPr/>
      </dsp:nvSpPr>
      <dsp:spPr>
        <a:xfrm>
          <a:off x="820933" y="815996"/>
          <a:ext cx="2204855" cy="403200"/>
        </a:xfrm>
        <a:custGeom>
          <a:avLst/>
          <a:gdLst/>
          <a:ahLst/>
          <a:cxnLst/>
          <a:rect l="0" t="0" r="0" b="0"/>
          <a:pathLst>
            <a:path>
              <a:moveTo>
                <a:pt x="2204855" y="0"/>
              </a:moveTo>
              <a:lnTo>
                <a:pt x="2204855" y="231841"/>
              </a:lnTo>
              <a:lnTo>
                <a:pt x="0" y="231841"/>
              </a:lnTo>
              <a:lnTo>
                <a:pt x="0" y="40320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D90FEA-3135-49C2-A3C0-CFEDDC6405B3}">
      <dsp:nvSpPr>
        <dsp:cNvPr id="0" name=""/>
        <dsp:cNvSpPr/>
      </dsp:nvSpPr>
      <dsp:spPr>
        <a:xfrm>
          <a:off x="1250980" y="0"/>
          <a:ext cx="3549618" cy="81599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Usability is essentially Human Computer Interaction. Runtime Tactics are</a:t>
          </a:r>
          <a:endParaRPr lang="en-US" sz="2000" kern="1200" dirty="0"/>
        </a:p>
      </dsp:txBody>
      <dsp:txXfrm>
        <a:off x="1250980" y="0"/>
        <a:ext cx="3549618" cy="815996"/>
      </dsp:txXfrm>
    </dsp:sp>
    <dsp:sp modelId="{5E5C4910-D5C2-4117-9825-0F4E2308A1D4}">
      <dsp:nvSpPr>
        <dsp:cNvPr id="0" name=""/>
        <dsp:cNvSpPr/>
      </dsp:nvSpPr>
      <dsp:spPr>
        <a:xfrm>
          <a:off x="4936" y="1219197"/>
          <a:ext cx="1631993" cy="81599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User initiative (and system responds)</a:t>
          </a:r>
          <a:endParaRPr lang="en-US" sz="1800" kern="1200" dirty="0"/>
        </a:p>
      </dsp:txBody>
      <dsp:txXfrm>
        <a:off x="4936" y="1219197"/>
        <a:ext cx="1631993" cy="815996"/>
      </dsp:txXfrm>
    </dsp:sp>
    <dsp:sp modelId="{6E033C69-6BA8-4812-AE4E-0022A986E944}">
      <dsp:nvSpPr>
        <dsp:cNvPr id="0" name=""/>
        <dsp:cNvSpPr/>
      </dsp:nvSpPr>
      <dsp:spPr>
        <a:xfrm>
          <a:off x="412935" y="2377912"/>
          <a:ext cx="1631993" cy="81599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Cancel, undo, aggregation, store partial result</a:t>
          </a:r>
          <a:endParaRPr lang="en-US" sz="1600" kern="1200"/>
        </a:p>
      </dsp:txBody>
      <dsp:txXfrm>
        <a:off x="412935" y="2377912"/>
        <a:ext cx="1631993" cy="815996"/>
      </dsp:txXfrm>
    </dsp:sp>
    <dsp:sp modelId="{67A44139-B3F0-4118-89E8-A44A0D503C36}">
      <dsp:nvSpPr>
        <dsp:cNvPr id="0" name=""/>
        <dsp:cNvSpPr/>
      </dsp:nvSpPr>
      <dsp:spPr>
        <a:xfrm>
          <a:off x="4362359" y="1219197"/>
          <a:ext cx="1631993" cy="81599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ystem initiative</a:t>
          </a:r>
          <a:endParaRPr lang="en-US" sz="1800" kern="1200" dirty="0"/>
        </a:p>
      </dsp:txBody>
      <dsp:txXfrm>
        <a:off x="4362359" y="1219197"/>
        <a:ext cx="1631993" cy="815996"/>
      </dsp:txXfrm>
    </dsp:sp>
    <dsp:sp modelId="{4B399877-997D-4C5A-AE6B-CFCEE605BB65}">
      <dsp:nvSpPr>
        <dsp:cNvPr id="0" name=""/>
        <dsp:cNvSpPr/>
      </dsp:nvSpPr>
      <dsp:spPr>
        <a:xfrm>
          <a:off x="2387647" y="2377912"/>
          <a:ext cx="1631993" cy="1432090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u="sng" kern="1200" dirty="0" smtClean="0"/>
            <a:t>Task model:</a:t>
          </a:r>
          <a:r>
            <a:rPr lang="en-US" sz="1600" kern="1200" dirty="0" smtClean="0"/>
            <a:t> understands the context of the task user is trying and provide assistance </a:t>
          </a:r>
          <a:endParaRPr lang="en-US" sz="1600" kern="1200" dirty="0"/>
        </a:p>
      </dsp:txBody>
      <dsp:txXfrm>
        <a:off x="2387647" y="2377912"/>
        <a:ext cx="1631993" cy="1432090"/>
      </dsp:txXfrm>
    </dsp:sp>
    <dsp:sp modelId="{5A06C29A-3126-48BF-B144-189375FD0329}">
      <dsp:nvSpPr>
        <dsp:cNvPr id="0" name=""/>
        <dsp:cNvSpPr/>
      </dsp:nvSpPr>
      <dsp:spPr>
        <a:xfrm>
          <a:off x="2819407" y="4213203"/>
          <a:ext cx="1631993" cy="81599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orrect spelling during typing but not during password entry</a:t>
          </a:r>
          <a:endParaRPr lang="en-US" sz="1400" kern="1200" dirty="0"/>
        </a:p>
      </dsp:txBody>
      <dsp:txXfrm>
        <a:off x="2819407" y="4213203"/>
        <a:ext cx="1631993" cy="815996"/>
      </dsp:txXfrm>
    </dsp:sp>
    <dsp:sp modelId="{1B4F947A-69EB-46FF-A1EA-7664283D213E}">
      <dsp:nvSpPr>
        <dsp:cNvPr id="0" name=""/>
        <dsp:cNvSpPr/>
      </dsp:nvSpPr>
      <dsp:spPr>
        <a:xfrm>
          <a:off x="4362359" y="2377912"/>
          <a:ext cx="1631993" cy="1133778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u="sng" kern="1200" dirty="0" smtClean="0"/>
            <a:t>User model: </a:t>
          </a:r>
          <a:r>
            <a:rPr lang="en-US" sz="1600" kern="1200" dirty="0" smtClean="0"/>
            <a:t>understands who the user is and takes action</a:t>
          </a:r>
          <a:endParaRPr lang="en-US" sz="1600" kern="1200" dirty="0"/>
        </a:p>
      </dsp:txBody>
      <dsp:txXfrm>
        <a:off x="4362359" y="2377912"/>
        <a:ext cx="1631993" cy="1133778"/>
      </dsp:txXfrm>
    </dsp:sp>
    <dsp:sp modelId="{024F55D6-668B-49E1-A8E7-A40E7D340D0A}">
      <dsp:nvSpPr>
        <dsp:cNvPr id="0" name=""/>
        <dsp:cNvSpPr/>
      </dsp:nvSpPr>
      <dsp:spPr>
        <a:xfrm>
          <a:off x="4800598" y="4203982"/>
          <a:ext cx="1631993" cy="81599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djust scrolling speed, user specific customization, locale specific adjustment</a:t>
          </a:r>
          <a:endParaRPr lang="en-US" sz="1400" kern="1200" dirty="0"/>
        </a:p>
      </dsp:txBody>
      <dsp:txXfrm>
        <a:off x="4800598" y="4203982"/>
        <a:ext cx="1631993" cy="815996"/>
      </dsp:txXfrm>
    </dsp:sp>
    <dsp:sp modelId="{567C9F04-89A6-446A-9930-6A15977E58BC}">
      <dsp:nvSpPr>
        <dsp:cNvPr id="0" name=""/>
        <dsp:cNvSpPr/>
      </dsp:nvSpPr>
      <dsp:spPr>
        <a:xfrm>
          <a:off x="6337071" y="2377912"/>
          <a:ext cx="1631993" cy="112729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u="sng" kern="1200" dirty="0" smtClean="0"/>
            <a:t>System model: </a:t>
          </a:r>
          <a:r>
            <a:rPr lang="en-US" sz="1600" kern="1200" dirty="0" smtClean="0"/>
            <a:t/>
          </a:r>
          <a:br>
            <a:rPr lang="en-US" sz="1600" kern="1200" dirty="0" smtClean="0"/>
          </a:br>
          <a:r>
            <a:rPr lang="en-US" sz="1600" kern="1200" dirty="0" smtClean="0"/>
            <a:t>gets the current state of the system and responds</a:t>
          </a:r>
          <a:endParaRPr lang="en-US" sz="1600" kern="1200" dirty="0"/>
        </a:p>
      </dsp:txBody>
      <dsp:txXfrm>
        <a:off x="6337071" y="2377912"/>
        <a:ext cx="1631993" cy="1127291"/>
      </dsp:txXfrm>
    </dsp:sp>
    <dsp:sp modelId="{C8DE60D5-3BFA-4B18-89C8-1F812DCD88C1}">
      <dsp:nvSpPr>
        <dsp:cNvPr id="0" name=""/>
        <dsp:cNvSpPr/>
      </dsp:nvSpPr>
      <dsp:spPr>
        <a:xfrm>
          <a:off x="6750006" y="4197495"/>
          <a:ext cx="1631993" cy="81599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smtClean="0"/>
            <a:t>Time needed to complete a task</a:t>
          </a:r>
          <a:endParaRPr lang="en-US" sz="1400" kern="1200"/>
        </a:p>
      </dsp:txBody>
      <dsp:txXfrm>
        <a:off x="6750006" y="4197495"/>
        <a:ext cx="1631993" cy="81599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70828E-DDD4-480C-BDFF-1E596F6615D1}">
      <dsp:nvSpPr>
        <dsp:cNvPr id="0" name=""/>
        <dsp:cNvSpPr/>
      </dsp:nvSpPr>
      <dsp:spPr>
        <a:xfrm>
          <a:off x="5785628" y="1362455"/>
          <a:ext cx="193575" cy="26774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77431"/>
              </a:lnTo>
              <a:lnTo>
                <a:pt x="193575" y="267743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1682D2-6375-4500-994F-C7CC83594561}">
      <dsp:nvSpPr>
        <dsp:cNvPr id="0" name=""/>
        <dsp:cNvSpPr/>
      </dsp:nvSpPr>
      <dsp:spPr>
        <a:xfrm>
          <a:off x="5785628" y="1362455"/>
          <a:ext cx="193575" cy="17611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61174"/>
              </a:lnTo>
              <a:lnTo>
                <a:pt x="193575" y="176117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C6CEE4-3F67-4FA6-8639-65EC4CCFF4D9}">
      <dsp:nvSpPr>
        <dsp:cNvPr id="0" name=""/>
        <dsp:cNvSpPr/>
      </dsp:nvSpPr>
      <dsp:spPr>
        <a:xfrm>
          <a:off x="5785628" y="1362455"/>
          <a:ext cx="193575" cy="7192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9274"/>
              </a:lnTo>
              <a:lnTo>
                <a:pt x="193575" y="71927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62ECC0-9994-4B01-9E77-D5C13C496118}">
      <dsp:nvSpPr>
        <dsp:cNvPr id="0" name=""/>
        <dsp:cNvSpPr/>
      </dsp:nvSpPr>
      <dsp:spPr>
        <a:xfrm>
          <a:off x="3516964" y="444481"/>
          <a:ext cx="2784865" cy="2727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7219"/>
              </a:lnTo>
              <a:lnTo>
                <a:pt x="2784865" y="137219"/>
              </a:lnTo>
              <a:lnTo>
                <a:pt x="2784865" y="27272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628582-088E-42FA-B6EC-953F652565B0}">
      <dsp:nvSpPr>
        <dsp:cNvPr id="0" name=""/>
        <dsp:cNvSpPr/>
      </dsp:nvSpPr>
      <dsp:spPr>
        <a:xfrm>
          <a:off x="3675319" y="1362455"/>
          <a:ext cx="225646" cy="24261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26144"/>
              </a:lnTo>
              <a:lnTo>
                <a:pt x="225646" y="242614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E82B1A-B1F2-4CC5-9B64-B60015CBF624}">
      <dsp:nvSpPr>
        <dsp:cNvPr id="0" name=""/>
        <dsp:cNvSpPr/>
      </dsp:nvSpPr>
      <dsp:spPr>
        <a:xfrm>
          <a:off x="3675319" y="1362455"/>
          <a:ext cx="225646" cy="15098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9888"/>
              </a:lnTo>
              <a:lnTo>
                <a:pt x="225646" y="150988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DC7120-FE6F-49D8-95F2-AB1B2B6AC9A8}">
      <dsp:nvSpPr>
        <dsp:cNvPr id="0" name=""/>
        <dsp:cNvSpPr/>
      </dsp:nvSpPr>
      <dsp:spPr>
        <a:xfrm>
          <a:off x="3675319" y="1362455"/>
          <a:ext cx="225646" cy="5936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3631"/>
              </a:lnTo>
              <a:lnTo>
                <a:pt x="225646" y="59363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7CAE9-66E1-459B-A733-9B53B02E07AF}">
      <dsp:nvSpPr>
        <dsp:cNvPr id="0" name=""/>
        <dsp:cNvSpPr/>
      </dsp:nvSpPr>
      <dsp:spPr>
        <a:xfrm>
          <a:off x="3516964" y="444481"/>
          <a:ext cx="760080" cy="2727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7219"/>
              </a:lnTo>
              <a:lnTo>
                <a:pt x="760080" y="137219"/>
              </a:lnTo>
              <a:lnTo>
                <a:pt x="760080" y="27272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94D9E8-C2A3-4765-9477-D710CC646957}">
      <dsp:nvSpPr>
        <dsp:cNvPr id="0" name=""/>
        <dsp:cNvSpPr/>
      </dsp:nvSpPr>
      <dsp:spPr>
        <a:xfrm>
          <a:off x="2092429" y="1362455"/>
          <a:ext cx="193575" cy="33424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42401"/>
              </a:lnTo>
              <a:lnTo>
                <a:pt x="193575" y="334240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4D3FE4-1739-4B3C-ACD2-597D18FBC50F}">
      <dsp:nvSpPr>
        <dsp:cNvPr id="0" name=""/>
        <dsp:cNvSpPr/>
      </dsp:nvSpPr>
      <dsp:spPr>
        <a:xfrm>
          <a:off x="2092429" y="1362455"/>
          <a:ext cx="193575" cy="24261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26144"/>
              </a:lnTo>
              <a:lnTo>
                <a:pt x="193575" y="242614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10A4AF-D8A8-4F2D-9661-56E5DBB5B2C5}">
      <dsp:nvSpPr>
        <dsp:cNvPr id="0" name=""/>
        <dsp:cNvSpPr/>
      </dsp:nvSpPr>
      <dsp:spPr>
        <a:xfrm>
          <a:off x="2092429" y="1362455"/>
          <a:ext cx="193575" cy="15098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9888"/>
              </a:lnTo>
              <a:lnTo>
                <a:pt x="193575" y="150988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07306D-4BD7-4477-BB61-A954489058D6}">
      <dsp:nvSpPr>
        <dsp:cNvPr id="0" name=""/>
        <dsp:cNvSpPr/>
      </dsp:nvSpPr>
      <dsp:spPr>
        <a:xfrm>
          <a:off x="2092429" y="1362455"/>
          <a:ext cx="193575" cy="5936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3631"/>
              </a:lnTo>
              <a:lnTo>
                <a:pt x="193575" y="59363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956835-3386-449C-A89B-65F7C680246D}">
      <dsp:nvSpPr>
        <dsp:cNvPr id="0" name=""/>
        <dsp:cNvSpPr/>
      </dsp:nvSpPr>
      <dsp:spPr>
        <a:xfrm>
          <a:off x="2608630" y="444481"/>
          <a:ext cx="908333" cy="272722"/>
        </a:xfrm>
        <a:custGeom>
          <a:avLst/>
          <a:gdLst/>
          <a:ahLst/>
          <a:cxnLst/>
          <a:rect l="0" t="0" r="0" b="0"/>
          <a:pathLst>
            <a:path>
              <a:moveTo>
                <a:pt x="908333" y="0"/>
              </a:moveTo>
              <a:lnTo>
                <a:pt x="908333" y="137219"/>
              </a:lnTo>
              <a:lnTo>
                <a:pt x="0" y="137219"/>
              </a:lnTo>
              <a:lnTo>
                <a:pt x="0" y="27272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C84909-550F-4BDC-8966-B86E5E1786AE}">
      <dsp:nvSpPr>
        <dsp:cNvPr id="0" name=""/>
        <dsp:cNvSpPr/>
      </dsp:nvSpPr>
      <dsp:spPr>
        <a:xfrm>
          <a:off x="281454" y="1383419"/>
          <a:ext cx="193575" cy="24261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26144"/>
              </a:lnTo>
              <a:lnTo>
                <a:pt x="193575" y="242614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B3E9C0-0CE1-4B88-9E71-F7CE1A7F99D7}">
      <dsp:nvSpPr>
        <dsp:cNvPr id="0" name=""/>
        <dsp:cNvSpPr/>
      </dsp:nvSpPr>
      <dsp:spPr>
        <a:xfrm>
          <a:off x="281454" y="1383419"/>
          <a:ext cx="193575" cy="15098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9888"/>
              </a:lnTo>
              <a:lnTo>
                <a:pt x="193575" y="150988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3ED5F7-10A0-45C9-B814-5804FA76917E}">
      <dsp:nvSpPr>
        <dsp:cNvPr id="0" name=""/>
        <dsp:cNvSpPr/>
      </dsp:nvSpPr>
      <dsp:spPr>
        <a:xfrm>
          <a:off x="281454" y="1383419"/>
          <a:ext cx="193575" cy="5936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3631"/>
              </a:lnTo>
              <a:lnTo>
                <a:pt x="193575" y="59363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BC68A0-CABF-4126-884C-C90818E1E26E}">
      <dsp:nvSpPr>
        <dsp:cNvPr id="0" name=""/>
        <dsp:cNvSpPr/>
      </dsp:nvSpPr>
      <dsp:spPr>
        <a:xfrm>
          <a:off x="797655" y="444481"/>
          <a:ext cx="2719308" cy="352495"/>
        </a:xfrm>
        <a:custGeom>
          <a:avLst/>
          <a:gdLst/>
          <a:ahLst/>
          <a:cxnLst/>
          <a:rect l="0" t="0" r="0" b="0"/>
          <a:pathLst>
            <a:path>
              <a:moveTo>
                <a:pt x="2719308" y="0"/>
              </a:moveTo>
              <a:lnTo>
                <a:pt x="2719308" y="216992"/>
              </a:lnTo>
              <a:lnTo>
                <a:pt x="0" y="216992"/>
              </a:lnTo>
              <a:lnTo>
                <a:pt x="0" y="35249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D90FEA-3135-49C2-A3C0-CFEDDC6405B3}">
      <dsp:nvSpPr>
        <dsp:cNvPr id="0" name=""/>
        <dsp:cNvSpPr/>
      </dsp:nvSpPr>
      <dsp:spPr>
        <a:xfrm>
          <a:off x="2113529" y="0"/>
          <a:ext cx="2806869" cy="4444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Availability</a:t>
          </a:r>
          <a:endParaRPr lang="en-US" sz="2000" kern="1200" dirty="0"/>
        </a:p>
      </dsp:txBody>
      <dsp:txXfrm>
        <a:off x="2113529" y="0"/>
        <a:ext cx="2806869" cy="444481"/>
      </dsp:txXfrm>
    </dsp:sp>
    <dsp:sp modelId="{5E5C4910-D5C2-4117-9825-0F4E2308A1D4}">
      <dsp:nvSpPr>
        <dsp:cNvPr id="0" name=""/>
        <dsp:cNvSpPr/>
      </dsp:nvSpPr>
      <dsp:spPr>
        <a:xfrm>
          <a:off x="152404" y="796976"/>
          <a:ext cx="1290502" cy="58644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Fault detection</a:t>
          </a:r>
          <a:endParaRPr lang="en-US" sz="1800" kern="1200" dirty="0"/>
        </a:p>
      </dsp:txBody>
      <dsp:txXfrm>
        <a:off x="152404" y="796976"/>
        <a:ext cx="1290502" cy="586443"/>
      </dsp:txXfrm>
    </dsp:sp>
    <dsp:sp modelId="{1064D61A-5C37-497D-A6F5-6312AB6E3F5A}">
      <dsp:nvSpPr>
        <dsp:cNvPr id="0" name=""/>
        <dsp:cNvSpPr/>
      </dsp:nvSpPr>
      <dsp:spPr>
        <a:xfrm>
          <a:off x="475029" y="1654425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ing/echo</a:t>
          </a:r>
          <a:endParaRPr lang="en-US" sz="1800" kern="1200" dirty="0"/>
        </a:p>
      </dsp:txBody>
      <dsp:txXfrm>
        <a:off x="475029" y="1654425"/>
        <a:ext cx="1290502" cy="645251"/>
      </dsp:txXfrm>
    </dsp:sp>
    <dsp:sp modelId="{A77E27D0-EFD7-495B-9E1A-5A5371B8AB84}">
      <dsp:nvSpPr>
        <dsp:cNvPr id="0" name=""/>
        <dsp:cNvSpPr/>
      </dsp:nvSpPr>
      <dsp:spPr>
        <a:xfrm>
          <a:off x="475029" y="2570682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Heartbeat</a:t>
          </a:r>
          <a:endParaRPr lang="en-US" sz="1800" kern="1200" dirty="0"/>
        </a:p>
      </dsp:txBody>
      <dsp:txXfrm>
        <a:off x="475029" y="2570682"/>
        <a:ext cx="1290502" cy="645251"/>
      </dsp:txXfrm>
    </dsp:sp>
    <dsp:sp modelId="{984A4F3B-0A00-4E5A-9092-1922B8A7FAB3}">
      <dsp:nvSpPr>
        <dsp:cNvPr id="0" name=""/>
        <dsp:cNvSpPr/>
      </dsp:nvSpPr>
      <dsp:spPr>
        <a:xfrm>
          <a:off x="475029" y="3486938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Exception</a:t>
          </a:r>
          <a:endParaRPr lang="en-US" sz="1800" kern="1200" dirty="0"/>
        </a:p>
      </dsp:txBody>
      <dsp:txXfrm>
        <a:off x="475029" y="3486938"/>
        <a:ext cx="1290502" cy="645251"/>
      </dsp:txXfrm>
    </dsp:sp>
    <dsp:sp modelId="{F0ED6141-24DB-4164-A2D4-B51E750525CD}">
      <dsp:nvSpPr>
        <dsp:cNvPr id="0" name=""/>
        <dsp:cNvSpPr/>
      </dsp:nvSpPr>
      <dsp:spPr>
        <a:xfrm>
          <a:off x="1963379" y="717204"/>
          <a:ext cx="1290502" cy="64525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covery by repair</a:t>
          </a:r>
          <a:endParaRPr lang="en-US" sz="1800" kern="1200" dirty="0"/>
        </a:p>
      </dsp:txBody>
      <dsp:txXfrm>
        <a:off x="1963379" y="717204"/>
        <a:ext cx="1290502" cy="645251"/>
      </dsp:txXfrm>
    </dsp:sp>
    <dsp:sp modelId="{CBCDE87F-FA6C-44B8-A9C2-1E747BE7F736}">
      <dsp:nvSpPr>
        <dsp:cNvPr id="0" name=""/>
        <dsp:cNvSpPr/>
      </dsp:nvSpPr>
      <dsp:spPr>
        <a:xfrm>
          <a:off x="2286005" y="1633460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Voting</a:t>
          </a:r>
          <a:endParaRPr lang="en-US" sz="1800" kern="1200" dirty="0"/>
        </a:p>
      </dsp:txBody>
      <dsp:txXfrm>
        <a:off x="2286005" y="1633460"/>
        <a:ext cx="1290502" cy="645251"/>
      </dsp:txXfrm>
    </dsp:sp>
    <dsp:sp modelId="{5D0F02D1-4A23-4B53-AF4F-3529BE69829E}">
      <dsp:nvSpPr>
        <dsp:cNvPr id="0" name=""/>
        <dsp:cNvSpPr/>
      </dsp:nvSpPr>
      <dsp:spPr>
        <a:xfrm>
          <a:off x="2286005" y="2549717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Active redundancy</a:t>
          </a:r>
          <a:endParaRPr lang="en-US" sz="1800" kern="1200" dirty="0"/>
        </a:p>
      </dsp:txBody>
      <dsp:txXfrm>
        <a:off x="2286005" y="2549717"/>
        <a:ext cx="1290502" cy="645251"/>
      </dsp:txXfrm>
    </dsp:sp>
    <dsp:sp modelId="{7BABB840-5689-4566-85C9-55C4A127C4C6}">
      <dsp:nvSpPr>
        <dsp:cNvPr id="0" name=""/>
        <dsp:cNvSpPr/>
      </dsp:nvSpPr>
      <dsp:spPr>
        <a:xfrm>
          <a:off x="2286005" y="3465974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assive redundancy</a:t>
          </a:r>
          <a:endParaRPr lang="en-US" sz="1800" kern="1200" dirty="0"/>
        </a:p>
      </dsp:txBody>
      <dsp:txXfrm>
        <a:off x="2286005" y="3465974"/>
        <a:ext cx="1290502" cy="645251"/>
      </dsp:txXfrm>
    </dsp:sp>
    <dsp:sp modelId="{50D60845-A14B-4DD0-8DB4-8B07FEB31A21}">
      <dsp:nvSpPr>
        <dsp:cNvPr id="0" name=""/>
        <dsp:cNvSpPr/>
      </dsp:nvSpPr>
      <dsp:spPr>
        <a:xfrm>
          <a:off x="2286005" y="4382231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pare copy</a:t>
          </a:r>
          <a:endParaRPr lang="en-US" sz="1800" kern="1200" dirty="0"/>
        </a:p>
      </dsp:txBody>
      <dsp:txXfrm>
        <a:off x="2286005" y="4382231"/>
        <a:ext cx="1290502" cy="645251"/>
      </dsp:txXfrm>
    </dsp:sp>
    <dsp:sp modelId="{A5F2589C-C16C-45F2-9A3D-F2A6CB2476D1}">
      <dsp:nvSpPr>
        <dsp:cNvPr id="0" name=""/>
        <dsp:cNvSpPr/>
      </dsp:nvSpPr>
      <dsp:spPr>
        <a:xfrm>
          <a:off x="3524887" y="717204"/>
          <a:ext cx="1504313" cy="64525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covery by reintroduction</a:t>
          </a:r>
          <a:endParaRPr lang="en-US" sz="1800" kern="1200" dirty="0"/>
        </a:p>
      </dsp:txBody>
      <dsp:txXfrm>
        <a:off x="3524887" y="717204"/>
        <a:ext cx="1504313" cy="645251"/>
      </dsp:txXfrm>
    </dsp:sp>
    <dsp:sp modelId="{6E033C69-6BA8-4812-AE4E-0022A986E944}">
      <dsp:nvSpPr>
        <dsp:cNvPr id="0" name=""/>
        <dsp:cNvSpPr/>
      </dsp:nvSpPr>
      <dsp:spPr>
        <a:xfrm>
          <a:off x="3900965" y="1633460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hadow operation</a:t>
          </a:r>
          <a:endParaRPr lang="en-US" sz="1600" kern="1200" dirty="0"/>
        </a:p>
      </dsp:txBody>
      <dsp:txXfrm>
        <a:off x="3900965" y="1633460"/>
        <a:ext cx="1290502" cy="645251"/>
      </dsp:txXfrm>
    </dsp:sp>
    <dsp:sp modelId="{428A54D9-43F6-47B6-B3A2-FDCE09CB5A97}">
      <dsp:nvSpPr>
        <dsp:cNvPr id="0" name=""/>
        <dsp:cNvSpPr/>
      </dsp:nvSpPr>
      <dsp:spPr>
        <a:xfrm>
          <a:off x="3900965" y="2549717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tate resynchronization</a:t>
          </a:r>
          <a:endParaRPr lang="en-US" sz="1600" kern="1200" dirty="0"/>
        </a:p>
      </dsp:txBody>
      <dsp:txXfrm>
        <a:off x="3900965" y="2549717"/>
        <a:ext cx="1290502" cy="645251"/>
      </dsp:txXfrm>
    </dsp:sp>
    <dsp:sp modelId="{93507A0E-B606-4F7A-9C01-283769128FF2}">
      <dsp:nvSpPr>
        <dsp:cNvPr id="0" name=""/>
        <dsp:cNvSpPr/>
      </dsp:nvSpPr>
      <dsp:spPr>
        <a:xfrm>
          <a:off x="3900965" y="3465974"/>
          <a:ext cx="1290502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/>
            <a:t>Checkpointing</a:t>
          </a:r>
          <a:r>
            <a:rPr lang="en-US" sz="1600" kern="1200" dirty="0" smtClean="0"/>
            <a:t> and rollback</a:t>
          </a:r>
          <a:endParaRPr lang="en-US" sz="1600" kern="1200" dirty="0"/>
        </a:p>
      </dsp:txBody>
      <dsp:txXfrm>
        <a:off x="3900965" y="3465974"/>
        <a:ext cx="1290502" cy="645251"/>
      </dsp:txXfrm>
    </dsp:sp>
    <dsp:sp modelId="{67A44139-B3F0-4118-89E8-A44A0D503C36}">
      <dsp:nvSpPr>
        <dsp:cNvPr id="0" name=""/>
        <dsp:cNvSpPr/>
      </dsp:nvSpPr>
      <dsp:spPr>
        <a:xfrm>
          <a:off x="5656578" y="717204"/>
          <a:ext cx="1290502" cy="64525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Failure prevention</a:t>
          </a:r>
          <a:endParaRPr lang="en-US" sz="1800" kern="1200" dirty="0"/>
        </a:p>
      </dsp:txBody>
      <dsp:txXfrm>
        <a:off x="5656578" y="717204"/>
        <a:ext cx="1290502" cy="645251"/>
      </dsp:txXfrm>
    </dsp:sp>
    <dsp:sp modelId="{1B4F947A-69EB-46FF-A1EA-7664283D213E}">
      <dsp:nvSpPr>
        <dsp:cNvPr id="0" name=""/>
        <dsp:cNvSpPr/>
      </dsp:nvSpPr>
      <dsp:spPr>
        <a:xfrm>
          <a:off x="5979204" y="1633460"/>
          <a:ext cx="2155655" cy="896537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u="none" kern="1200" dirty="0" smtClean="0"/>
            <a:t>Removal of a component to prevent anticipated failure– auto/manual reboot</a:t>
          </a:r>
          <a:endParaRPr lang="en-US" sz="1600" b="0" u="none" kern="1200" dirty="0"/>
        </a:p>
      </dsp:txBody>
      <dsp:txXfrm>
        <a:off x="5979204" y="1633460"/>
        <a:ext cx="2155655" cy="896537"/>
      </dsp:txXfrm>
    </dsp:sp>
    <dsp:sp modelId="{78B1DB83-1FBB-4B72-AADA-6CBB1DAEF356}">
      <dsp:nvSpPr>
        <dsp:cNvPr id="0" name=""/>
        <dsp:cNvSpPr/>
      </dsp:nvSpPr>
      <dsp:spPr>
        <a:xfrm>
          <a:off x="5979204" y="2801004"/>
          <a:ext cx="2357296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reate transaction</a:t>
          </a:r>
          <a:endParaRPr lang="en-US" sz="1600" kern="1200" dirty="0"/>
        </a:p>
      </dsp:txBody>
      <dsp:txXfrm>
        <a:off x="5979204" y="2801004"/>
        <a:ext cx="2357296" cy="645251"/>
      </dsp:txXfrm>
    </dsp:sp>
    <dsp:sp modelId="{43C79B55-7800-4403-B3B4-49E5363FFF1E}">
      <dsp:nvSpPr>
        <dsp:cNvPr id="0" name=""/>
        <dsp:cNvSpPr/>
      </dsp:nvSpPr>
      <dsp:spPr>
        <a:xfrm>
          <a:off x="5979204" y="3717261"/>
          <a:ext cx="2308051" cy="64525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Process monitor- that can detect, remove and restart faulty process</a:t>
          </a:r>
          <a:endParaRPr lang="en-US" sz="1600" kern="1200" dirty="0"/>
        </a:p>
      </dsp:txBody>
      <dsp:txXfrm>
        <a:off x="5979204" y="3717261"/>
        <a:ext cx="2308051" cy="64525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DF7D20-97CE-45B5-8272-1D8DFBF4322E}">
      <dsp:nvSpPr>
        <dsp:cNvPr id="0" name=""/>
        <dsp:cNvSpPr/>
      </dsp:nvSpPr>
      <dsp:spPr>
        <a:xfrm>
          <a:off x="6506545" y="1513352"/>
          <a:ext cx="1002121" cy="31387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38776"/>
              </a:lnTo>
              <a:lnTo>
                <a:pt x="1002121" y="3138776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0CA387-8BDE-4005-BE6C-725A759AE03C}">
      <dsp:nvSpPr>
        <dsp:cNvPr id="0" name=""/>
        <dsp:cNvSpPr/>
      </dsp:nvSpPr>
      <dsp:spPr>
        <a:xfrm>
          <a:off x="6506545" y="1513352"/>
          <a:ext cx="770231" cy="23867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86739"/>
              </a:lnTo>
              <a:lnTo>
                <a:pt x="770231" y="2386739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628582-088E-42FA-B6EC-953F652565B0}">
      <dsp:nvSpPr>
        <dsp:cNvPr id="0" name=""/>
        <dsp:cNvSpPr/>
      </dsp:nvSpPr>
      <dsp:spPr>
        <a:xfrm>
          <a:off x="6506545" y="1513352"/>
          <a:ext cx="777912" cy="17286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8669"/>
              </a:lnTo>
              <a:lnTo>
                <a:pt x="777912" y="1728669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E82B1A-B1F2-4CC5-9B64-B60015CBF624}">
      <dsp:nvSpPr>
        <dsp:cNvPr id="0" name=""/>
        <dsp:cNvSpPr/>
      </dsp:nvSpPr>
      <dsp:spPr>
        <a:xfrm>
          <a:off x="6506545" y="1513352"/>
          <a:ext cx="692471" cy="10685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68512"/>
              </a:lnTo>
              <a:lnTo>
                <a:pt x="692471" y="1068512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DC7120-FE6F-49D8-95F2-AB1B2B6AC9A8}">
      <dsp:nvSpPr>
        <dsp:cNvPr id="0" name=""/>
        <dsp:cNvSpPr/>
      </dsp:nvSpPr>
      <dsp:spPr>
        <a:xfrm>
          <a:off x="6506545" y="1513352"/>
          <a:ext cx="966132" cy="3747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4711"/>
              </a:lnTo>
              <a:lnTo>
                <a:pt x="966132" y="37471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7CAE9-66E1-459B-A733-9B53B02E07AF}">
      <dsp:nvSpPr>
        <dsp:cNvPr id="0" name=""/>
        <dsp:cNvSpPr/>
      </dsp:nvSpPr>
      <dsp:spPr>
        <a:xfrm>
          <a:off x="4065824" y="536476"/>
          <a:ext cx="2904015" cy="4800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5739"/>
              </a:lnTo>
              <a:lnTo>
                <a:pt x="2904015" y="375739"/>
              </a:lnTo>
              <a:lnTo>
                <a:pt x="2904015" y="480068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94D9E8-C2A3-4765-9477-D710CC646957}">
      <dsp:nvSpPr>
        <dsp:cNvPr id="0" name=""/>
        <dsp:cNvSpPr/>
      </dsp:nvSpPr>
      <dsp:spPr>
        <a:xfrm>
          <a:off x="3358738" y="1424359"/>
          <a:ext cx="335086" cy="30624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62486"/>
              </a:lnTo>
              <a:lnTo>
                <a:pt x="335086" y="3062486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4D3FE4-1739-4B3C-ACD2-597D18FBC50F}">
      <dsp:nvSpPr>
        <dsp:cNvPr id="0" name=""/>
        <dsp:cNvSpPr/>
      </dsp:nvSpPr>
      <dsp:spPr>
        <a:xfrm>
          <a:off x="3358738" y="1424359"/>
          <a:ext cx="335086" cy="22004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00499"/>
              </a:lnTo>
              <a:lnTo>
                <a:pt x="335086" y="2200499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10A4AF-D8A8-4F2D-9661-56E5DBB5B2C5}">
      <dsp:nvSpPr>
        <dsp:cNvPr id="0" name=""/>
        <dsp:cNvSpPr/>
      </dsp:nvSpPr>
      <dsp:spPr>
        <a:xfrm>
          <a:off x="3358738" y="1424359"/>
          <a:ext cx="335086" cy="13050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05086"/>
              </a:lnTo>
              <a:lnTo>
                <a:pt x="335086" y="1305086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07306D-4BD7-4477-BB61-A954489058D6}">
      <dsp:nvSpPr>
        <dsp:cNvPr id="0" name=""/>
        <dsp:cNvSpPr/>
      </dsp:nvSpPr>
      <dsp:spPr>
        <a:xfrm>
          <a:off x="3358738" y="1424359"/>
          <a:ext cx="335086" cy="4996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9613"/>
              </a:lnTo>
              <a:lnTo>
                <a:pt x="335086" y="499613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956835-3386-449C-A89B-65F7C680246D}">
      <dsp:nvSpPr>
        <dsp:cNvPr id="0" name=""/>
        <dsp:cNvSpPr/>
      </dsp:nvSpPr>
      <dsp:spPr>
        <a:xfrm>
          <a:off x="4065824" y="536476"/>
          <a:ext cx="182079" cy="5375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3195"/>
              </a:lnTo>
              <a:lnTo>
                <a:pt x="182079" y="433195"/>
              </a:lnTo>
              <a:lnTo>
                <a:pt x="182079" y="537524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00A05E-81E0-4C4F-9FC9-0B1D7BC7DE00}">
      <dsp:nvSpPr>
        <dsp:cNvPr id="0" name=""/>
        <dsp:cNvSpPr/>
      </dsp:nvSpPr>
      <dsp:spPr>
        <a:xfrm>
          <a:off x="265967" y="1598753"/>
          <a:ext cx="217273" cy="2741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41643"/>
              </a:lnTo>
              <a:lnTo>
                <a:pt x="217273" y="2741643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C84909-550F-4BDC-8966-B86E5E1786AE}">
      <dsp:nvSpPr>
        <dsp:cNvPr id="0" name=""/>
        <dsp:cNvSpPr/>
      </dsp:nvSpPr>
      <dsp:spPr>
        <a:xfrm>
          <a:off x="265967" y="1598753"/>
          <a:ext cx="290492" cy="193617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36170"/>
              </a:lnTo>
              <a:lnTo>
                <a:pt x="290492" y="1936170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B3E9C0-0CE1-4B88-9E71-F7CE1A7F99D7}">
      <dsp:nvSpPr>
        <dsp:cNvPr id="0" name=""/>
        <dsp:cNvSpPr/>
      </dsp:nvSpPr>
      <dsp:spPr>
        <a:xfrm>
          <a:off x="265967" y="1598753"/>
          <a:ext cx="290492" cy="12039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3922"/>
              </a:lnTo>
              <a:lnTo>
                <a:pt x="290492" y="1203922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3ED5F7-10A0-45C9-B814-5804FA76917E}">
      <dsp:nvSpPr>
        <dsp:cNvPr id="0" name=""/>
        <dsp:cNvSpPr/>
      </dsp:nvSpPr>
      <dsp:spPr>
        <a:xfrm>
          <a:off x="265967" y="1598753"/>
          <a:ext cx="109814" cy="4716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71673"/>
              </a:lnTo>
              <a:lnTo>
                <a:pt x="109814" y="471673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BC68A0-CABF-4126-884C-C90818E1E26E}">
      <dsp:nvSpPr>
        <dsp:cNvPr id="0" name=""/>
        <dsp:cNvSpPr/>
      </dsp:nvSpPr>
      <dsp:spPr>
        <a:xfrm>
          <a:off x="663412" y="536476"/>
          <a:ext cx="3402411" cy="610749"/>
        </a:xfrm>
        <a:custGeom>
          <a:avLst/>
          <a:gdLst/>
          <a:ahLst/>
          <a:cxnLst/>
          <a:rect l="0" t="0" r="0" b="0"/>
          <a:pathLst>
            <a:path>
              <a:moveTo>
                <a:pt x="3402411" y="0"/>
              </a:moveTo>
              <a:lnTo>
                <a:pt x="3402411" y="506419"/>
              </a:lnTo>
              <a:lnTo>
                <a:pt x="0" y="506419"/>
              </a:lnTo>
              <a:lnTo>
                <a:pt x="0" y="61074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D90FEA-3135-49C2-A3C0-CFEDDC6405B3}">
      <dsp:nvSpPr>
        <dsp:cNvPr id="0" name=""/>
        <dsp:cNvSpPr/>
      </dsp:nvSpPr>
      <dsp:spPr>
        <a:xfrm>
          <a:off x="3168824" y="0"/>
          <a:ext cx="1793999" cy="53647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 smtClean="0"/>
            <a:t>Modifiabilty</a:t>
          </a:r>
          <a:endParaRPr lang="en-US" sz="2000" kern="1200" dirty="0"/>
        </a:p>
      </dsp:txBody>
      <dsp:txXfrm>
        <a:off x="3168824" y="0"/>
        <a:ext cx="1793999" cy="536476"/>
      </dsp:txXfrm>
    </dsp:sp>
    <dsp:sp modelId="{5E5C4910-D5C2-4117-9825-0F4E2308A1D4}">
      <dsp:nvSpPr>
        <dsp:cNvPr id="0" name=""/>
        <dsp:cNvSpPr/>
      </dsp:nvSpPr>
      <dsp:spPr>
        <a:xfrm>
          <a:off x="166605" y="1147225"/>
          <a:ext cx="993613" cy="451527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Localize change</a:t>
          </a:r>
          <a:endParaRPr lang="en-US" sz="1800" kern="1200" dirty="0"/>
        </a:p>
      </dsp:txBody>
      <dsp:txXfrm>
        <a:off x="166605" y="1147225"/>
        <a:ext cx="993613" cy="451527"/>
      </dsp:txXfrm>
    </dsp:sp>
    <dsp:sp modelId="{1064D61A-5C37-497D-A6F5-6312AB6E3F5A}">
      <dsp:nvSpPr>
        <dsp:cNvPr id="0" name=""/>
        <dsp:cNvSpPr/>
      </dsp:nvSpPr>
      <dsp:spPr>
        <a:xfrm>
          <a:off x="375781" y="1822023"/>
          <a:ext cx="1864854" cy="49680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Factoring common service</a:t>
          </a:r>
          <a:endParaRPr lang="en-US" sz="1800" kern="1200" dirty="0"/>
        </a:p>
      </dsp:txBody>
      <dsp:txXfrm>
        <a:off x="375781" y="1822023"/>
        <a:ext cx="1864854" cy="496806"/>
      </dsp:txXfrm>
    </dsp:sp>
    <dsp:sp modelId="{A77E27D0-EFD7-495B-9E1A-5A5371B8AB84}">
      <dsp:nvSpPr>
        <dsp:cNvPr id="0" name=""/>
        <dsp:cNvSpPr/>
      </dsp:nvSpPr>
      <dsp:spPr>
        <a:xfrm>
          <a:off x="556459" y="2554272"/>
          <a:ext cx="993613" cy="49680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Anticipate change</a:t>
          </a:r>
          <a:endParaRPr lang="en-US" sz="1800" kern="1200" dirty="0"/>
        </a:p>
      </dsp:txBody>
      <dsp:txXfrm>
        <a:off x="556459" y="2554272"/>
        <a:ext cx="993613" cy="496806"/>
      </dsp:txXfrm>
    </dsp:sp>
    <dsp:sp modelId="{984A4F3B-0A00-4E5A-9092-1922B8A7FAB3}">
      <dsp:nvSpPr>
        <dsp:cNvPr id="0" name=""/>
        <dsp:cNvSpPr/>
      </dsp:nvSpPr>
      <dsp:spPr>
        <a:xfrm>
          <a:off x="556459" y="3286521"/>
          <a:ext cx="993613" cy="49680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Generalize module</a:t>
          </a:r>
          <a:endParaRPr lang="en-US" sz="1800" kern="1200" dirty="0"/>
        </a:p>
      </dsp:txBody>
      <dsp:txXfrm>
        <a:off x="556459" y="3286521"/>
        <a:ext cx="993613" cy="496806"/>
      </dsp:txXfrm>
    </dsp:sp>
    <dsp:sp modelId="{BA6AC4DB-0F64-47C4-8289-FB0923B8558A}">
      <dsp:nvSpPr>
        <dsp:cNvPr id="0" name=""/>
        <dsp:cNvSpPr/>
      </dsp:nvSpPr>
      <dsp:spPr>
        <a:xfrm>
          <a:off x="483240" y="4091994"/>
          <a:ext cx="1510362" cy="49680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Limit possible options</a:t>
          </a:r>
          <a:endParaRPr lang="en-US" sz="1800" kern="1200" dirty="0"/>
        </a:p>
      </dsp:txBody>
      <dsp:txXfrm>
        <a:off x="483240" y="4091994"/>
        <a:ext cx="1510362" cy="496806"/>
      </dsp:txXfrm>
    </dsp:sp>
    <dsp:sp modelId="{F0ED6141-24DB-4164-A2D4-B51E750525CD}">
      <dsp:nvSpPr>
        <dsp:cNvPr id="0" name=""/>
        <dsp:cNvSpPr/>
      </dsp:nvSpPr>
      <dsp:spPr>
        <a:xfrm>
          <a:off x="3136447" y="1074001"/>
          <a:ext cx="2222912" cy="35035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revent Ripple effect</a:t>
          </a:r>
          <a:endParaRPr lang="en-US" sz="1800" kern="1200" dirty="0"/>
        </a:p>
      </dsp:txBody>
      <dsp:txXfrm>
        <a:off x="3136447" y="1074001"/>
        <a:ext cx="2222912" cy="350358"/>
      </dsp:txXfrm>
    </dsp:sp>
    <dsp:sp modelId="{CBCDE87F-FA6C-44B8-A9C2-1E747BE7F736}">
      <dsp:nvSpPr>
        <dsp:cNvPr id="0" name=""/>
        <dsp:cNvSpPr/>
      </dsp:nvSpPr>
      <dsp:spPr>
        <a:xfrm>
          <a:off x="3693825" y="1675570"/>
          <a:ext cx="1232846" cy="49680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 smtClean="0"/>
            <a:t>Hide Information</a:t>
          </a:r>
          <a:endParaRPr lang="en-US" sz="1800" b="0" kern="1200" dirty="0"/>
        </a:p>
      </dsp:txBody>
      <dsp:txXfrm>
        <a:off x="3693825" y="1675570"/>
        <a:ext cx="1232846" cy="496806"/>
      </dsp:txXfrm>
    </dsp:sp>
    <dsp:sp modelId="{5D0F02D1-4A23-4B53-AF4F-3529BE69829E}">
      <dsp:nvSpPr>
        <dsp:cNvPr id="0" name=""/>
        <dsp:cNvSpPr/>
      </dsp:nvSpPr>
      <dsp:spPr>
        <a:xfrm>
          <a:off x="3693825" y="2481043"/>
          <a:ext cx="1764976" cy="49680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 smtClean="0"/>
            <a:t>Maintain Existing Interface</a:t>
          </a:r>
          <a:endParaRPr lang="en-US" sz="1800" b="0" kern="1200" dirty="0"/>
        </a:p>
      </dsp:txBody>
      <dsp:txXfrm>
        <a:off x="3693825" y="2481043"/>
        <a:ext cx="1764976" cy="496806"/>
      </dsp:txXfrm>
    </dsp:sp>
    <dsp:sp modelId="{7BABB840-5689-4566-85C9-55C4A127C4C6}">
      <dsp:nvSpPr>
        <dsp:cNvPr id="0" name=""/>
        <dsp:cNvSpPr/>
      </dsp:nvSpPr>
      <dsp:spPr>
        <a:xfrm>
          <a:off x="3693825" y="3246716"/>
          <a:ext cx="1857759" cy="756284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 smtClean="0"/>
            <a:t>Restrict Communication Paths</a:t>
          </a:r>
          <a:endParaRPr lang="en-US" sz="1800" b="0" kern="1200" dirty="0"/>
        </a:p>
      </dsp:txBody>
      <dsp:txXfrm>
        <a:off x="3693825" y="3246716"/>
        <a:ext cx="1857759" cy="756284"/>
      </dsp:txXfrm>
    </dsp:sp>
    <dsp:sp modelId="{50D60845-A14B-4DD0-8DB4-8B07FEB31A21}">
      <dsp:nvSpPr>
        <dsp:cNvPr id="0" name=""/>
        <dsp:cNvSpPr/>
      </dsp:nvSpPr>
      <dsp:spPr>
        <a:xfrm>
          <a:off x="3693825" y="4238442"/>
          <a:ext cx="1927501" cy="49680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Use intermediary between modules</a:t>
          </a:r>
          <a:endParaRPr lang="en-US" sz="1800" kern="1200" dirty="0"/>
        </a:p>
      </dsp:txBody>
      <dsp:txXfrm>
        <a:off x="3693825" y="4238442"/>
        <a:ext cx="1927501" cy="496806"/>
      </dsp:txXfrm>
    </dsp:sp>
    <dsp:sp modelId="{A5F2589C-C16C-45F2-9A3D-F2A6CB2476D1}">
      <dsp:nvSpPr>
        <dsp:cNvPr id="0" name=""/>
        <dsp:cNvSpPr/>
      </dsp:nvSpPr>
      <dsp:spPr>
        <a:xfrm>
          <a:off x="6390721" y="1016545"/>
          <a:ext cx="1158235" cy="49680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Defer binding</a:t>
          </a:r>
          <a:endParaRPr lang="en-US" sz="1800" kern="1200" dirty="0"/>
        </a:p>
      </dsp:txBody>
      <dsp:txXfrm>
        <a:off x="6390721" y="1016545"/>
        <a:ext cx="1158235" cy="496806"/>
      </dsp:txXfrm>
    </dsp:sp>
    <dsp:sp modelId="{6E033C69-6BA8-4812-AE4E-0022A986E944}">
      <dsp:nvSpPr>
        <dsp:cNvPr id="0" name=""/>
        <dsp:cNvSpPr/>
      </dsp:nvSpPr>
      <dsp:spPr>
        <a:xfrm>
          <a:off x="7472677" y="1639660"/>
          <a:ext cx="993613" cy="49680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untime registration</a:t>
          </a:r>
          <a:endParaRPr lang="en-US" sz="1600" kern="1200" dirty="0"/>
        </a:p>
      </dsp:txBody>
      <dsp:txXfrm>
        <a:off x="7472677" y="1639660"/>
        <a:ext cx="993613" cy="496806"/>
      </dsp:txXfrm>
    </dsp:sp>
    <dsp:sp modelId="{428A54D9-43F6-47B6-B3A2-FDCE09CB5A97}">
      <dsp:nvSpPr>
        <dsp:cNvPr id="0" name=""/>
        <dsp:cNvSpPr/>
      </dsp:nvSpPr>
      <dsp:spPr>
        <a:xfrm>
          <a:off x="7199016" y="2333461"/>
          <a:ext cx="1303263" cy="49680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onfiguration files</a:t>
          </a:r>
          <a:endParaRPr lang="en-US" sz="1600" kern="1200" dirty="0"/>
        </a:p>
      </dsp:txBody>
      <dsp:txXfrm>
        <a:off x="7199016" y="2333461"/>
        <a:ext cx="1303263" cy="496806"/>
      </dsp:txXfrm>
    </dsp:sp>
    <dsp:sp modelId="{93507A0E-B606-4F7A-9C01-283769128FF2}">
      <dsp:nvSpPr>
        <dsp:cNvPr id="0" name=""/>
        <dsp:cNvSpPr/>
      </dsp:nvSpPr>
      <dsp:spPr>
        <a:xfrm>
          <a:off x="7284457" y="2993618"/>
          <a:ext cx="1217822" cy="49680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Polymorphism</a:t>
          </a:r>
          <a:endParaRPr lang="en-US" sz="1600" kern="1200" dirty="0"/>
        </a:p>
      </dsp:txBody>
      <dsp:txXfrm>
        <a:off x="7284457" y="2993618"/>
        <a:ext cx="1217822" cy="496806"/>
      </dsp:txXfrm>
    </dsp:sp>
    <dsp:sp modelId="{0B051ACB-AD4B-44A0-B203-A3F060DC178D}">
      <dsp:nvSpPr>
        <dsp:cNvPr id="0" name=""/>
        <dsp:cNvSpPr/>
      </dsp:nvSpPr>
      <dsp:spPr>
        <a:xfrm>
          <a:off x="7276776" y="3651689"/>
          <a:ext cx="1225503" cy="49680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omponent replacement</a:t>
          </a:r>
          <a:endParaRPr lang="en-US" sz="1600" kern="1200" dirty="0"/>
        </a:p>
      </dsp:txBody>
      <dsp:txXfrm>
        <a:off x="7276776" y="3651689"/>
        <a:ext cx="1225503" cy="496806"/>
      </dsp:txXfrm>
    </dsp:sp>
    <dsp:sp modelId="{B48C34C0-3268-4BDA-9392-41361EEA60C6}">
      <dsp:nvSpPr>
        <dsp:cNvPr id="0" name=""/>
        <dsp:cNvSpPr/>
      </dsp:nvSpPr>
      <dsp:spPr>
        <a:xfrm>
          <a:off x="7508666" y="4276110"/>
          <a:ext cx="993613" cy="75203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dherence to defined protocols</a:t>
          </a:r>
          <a:endParaRPr lang="en-US" sz="1600" kern="1200" dirty="0"/>
        </a:p>
      </dsp:txBody>
      <dsp:txXfrm>
        <a:off x="7508666" y="4276110"/>
        <a:ext cx="993613" cy="75203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B28D6A-8651-4C2D-A93F-547F675057B1}">
      <dsp:nvSpPr>
        <dsp:cNvPr id="0" name=""/>
        <dsp:cNvSpPr/>
      </dsp:nvSpPr>
      <dsp:spPr>
        <a:xfrm>
          <a:off x="7145470" y="2400785"/>
          <a:ext cx="161152" cy="20197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19783"/>
              </a:lnTo>
              <a:lnTo>
                <a:pt x="161152" y="2019783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489E13-5EBB-46EA-BAD7-DF8FF1BD9538}">
      <dsp:nvSpPr>
        <dsp:cNvPr id="0" name=""/>
        <dsp:cNvSpPr/>
      </dsp:nvSpPr>
      <dsp:spPr>
        <a:xfrm>
          <a:off x="7145470" y="2400785"/>
          <a:ext cx="161152" cy="12569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6993"/>
              </a:lnTo>
              <a:lnTo>
                <a:pt x="161152" y="1256993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F14733-7772-4221-A3F0-B49E68B56A28}">
      <dsp:nvSpPr>
        <dsp:cNvPr id="0" name=""/>
        <dsp:cNvSpPr/>
      </dsp:nvSpPr>
      <dsp:spPr>
        <a:xfrm>
          <a:off x="7145470" y="2400785"/>
          <a:ext cx="161152" cy="4942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4202"/>
              </a:lnTo>
              <a:lnTo>
                <a:pt x="161152" y="494202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9C8F32-68AE-41D1-8F21-AF2ADD282176}">
      <dsp:nvSpPr>
        <dsp:cNvPr id="0" name=""/>
        <dsp:cNvSpPr/>
      </dsp:nvSpPr>
      <dsp:spPr>
        <a:xfrm>
          <a:off x="6925228" y="1637995"/>
          <a:ext cx="649983" cy="2256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2807"/>
              </a:lnTo>
              <a:lnTo>
                <a:pt x="649983" y="112807"/>
              </a:lnTo>
              <a:lnTo>
                <a:pt x="649983" y="22561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4A45A3-F760-4C0A-96C3-EA44E0B95103}">
      <dsp:nvSpPr>
        <dsp:cNvPr id="0" name=""/>
        <dsp:cNvSpPr/>
      </dsp:nvSpPr>
      <dsp:spPr>
        <a:xfrm>
          <a:off x="6275244" y="1637995"/>
          <a:ext cx="649983" cy="225614"/>
        </a:xfrm>
        <a:custGeom>
          <a:avLst/>
          <a:gdLst/>
          <a:ahLst/>
          <a:cxnLst/>
          <a:rect l="0" t="0" r="0" b="0"/>
          <a:pathLst>
            <a:path>
              <a:moveTo>
                <a:pt x="649983" y="0"/>
              </a:moveTo>
              <a:lnTo>
                <a:pt x="649983" y="112807"/>
              </a:lnTo>
              <a:lnTo>
                <a:pt x="0" y="112807"/>
              </a:lnTo>
              <a:lnTo>
                <a:pt x="0" y="22561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082D60-CC48-413C-8900-CCAAFA96DCD6}">
      <dsp:nvSpPr>
        <dsp:cNvPr id="0" name=""/>
        <dsp:cNvSpPr/>
      </dsp:nvSpPr>
      <dsp:spPr>
        <a:xfrm>
          <a:off x="4340802" y="691028"/>
          <a:ext cx="2584426" cy="4097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6983"/>
              </a:lnTo>
              <a:lnTo>
                <a:pt x="2584426" y="296983"/>
              </a:lnTo>
              <a:lnTo>
                <a:pt x="2584426" y="409790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7675F5-2BBC-4E57-B900-715F59D6F9D8}">
      <dsp:nvSpPr>
        <dsp:cNvPr id="0" name=""/>
        <dsp:cNvSpPr/>
      </dsp:nvSpPr>
      <dsp:spPr>
        <a:xfrm>
          <a:off x="4249908" y="1637995"/>
          <a:ext cx="188192" cy="29877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87732"/>
              </a:lnTo>
              <a:lnTo>
                <a:pt x="188192" y="2987732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E31743-868F-406B-876C-6B11BD573394}">
      <dsp:nvSpPr>
        <dsp:cNvPr id="0" name=""/>
        <dsp:cNvSpPr/>
      </dsp:nvSpPr>
      <dsp:spPr>
        <a:xfrm>
          <a:off x="4249908" y="1637995"/>
          <a:ext cx="188192" cy="16393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39395"/>
              </a:lnTo>
              <a:lnTo>
                <a:pt x="188192" y="1639395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B7BB75-3081-4A5F-AE84-D0A5017A250E}">
      <dsp:nvSpPr>
        <dsp:cNvPr id="0" name=""/>
        <dsp:cNvSpPr/>
      </dsp:nvSpPr>
      <dsp:spPr>
        <a:xfrm>
          <a:off x="4249908" y="1637995"/>
          <a:ext cx="188192" cy="4942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4202"/>
              </a:lnTo>
              <a:lnTo>
                <a:pt x="188192" y="494202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43736C3-DC97-41E9-A92D-0C87CF3D4CE0}">
      <dsp:nvSpPr>
        <dsp:cNvPr id="0" name=""/>
        <dsp:cNvSpPr/>
      </dsp:nvSpPr>
      <dsp:spPr>
        <a:xfrm>
          <a:off x="4340802" y="691028"/>
          <a:ext cx="410953" cy="4097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6983"/>
              </a:lnTo>
              <a:lnTo>
                <a:pt x="410953" y="296983"/>
              </a:lnTo>
              <a:lnTo>
                <a:pt x="410953" y="409790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2AF2FA-B901-4EBD-A0F4-874AF10956EF}">
      <dsp:nvSpPr>
        <dsp:cNvPr id="0" name=""/>
        <dsp:cNvSpPr/>
      </dsp:nvSpPr>
      <dsp:spPr>
        <a:xfrm>
          <a:off x="2976981" y="2695754"/>
          <a:ext cx="161152" cy="15519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1962"/>
              </a:lnTo>
              <a:lnTo>
                <a:pt x="161152" y="1551962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CCE23A-CC94-4B5F-B13D-CB73BFAE0403}">
      <dsp:nvSpPr>
        <dsp:cNvPr id="0" name=""/>
        <dsp:cNvSpPr/>
      </dsp:nvSpPr>
      <dsp:spPr>
        <a:xfrm>
          <a:off x="2976981" y="2695754"/>
          <a:ext cx="161152" cy="6416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1686"/>
              </a:lnTo>
              <a:lnTo>
                <a:pt x="161152" y="641686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90B3C0-311B-4985-BF2C-4868A2BA2053}">
      <dsp:nvSpPr>
        <dsp:cNvPr id="0" name=""/>
        <dsp:cNvSpPr/>
      </dsp:nvSpPr>
      <dsp:spPr>
        <a:xfrm>
          <a:off x="1972460" y="1637995"/>
          <a:ext cx="1434261" cy="2256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2807"/>
              </a:lnTo>
              <a:lnTo>
                <a:pt x="1434261" y="112807"/>
              </a:lnTo>
              <a:lnTo>
                <a:pt x="1434261" y="22561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0B7A79-132C-4674-BEC6-DB17C8FE71CA}">
      <dsp:nvSpPr>
        <dsp:cNvPr id="0" name=""/>
        <dsp:cNvSpPr/>
      </dsp:nvSpPr>
      <dsp:spPr>
        <a:xfrm>
          <a:off x="1408425" y="2400785"/>
          <a:ext cx="161152" cy="13938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93806"/>
              </a:lnTo>
              <a:lnTo>
                <a:pt x="161152" y="1393806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ECEA8CD-85C0-4A0E-A40C-3A0438CC7C86}">
      <dsp:nvSpPr>
        <dsp:cNvPr id="0" name=""/>
        <dsp:cNvSpPr/>
      </dsp:nvSpPr>
      <dsp:spPr>
        <a:xfrm>
          <a:off x="1408425" y="2400785"/>
          <a:ext cx="161152" cy="4942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4202"/>
              </a:lnTo>
              <a:lnTo>
                <a:pt x="161152" y="494202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D6034CB-E414-4170-8B00-5686E0E374AF}">
      <dsp:nvSpPr>
        <dsp:cNvPr id="0" name=""/>
        <dsp:cNvSpPr/>
      </dsp:nvSpPr>
      <dsp:spPr>
        <a:xfrm>
          <a:off x="1838166" y="1637995"/>
          <a:ext cx="134294" cy="225614"/>
        </a:xfrm>
        <a:custGeom>
          <a:avLst/>
          <a:gdLst/>
          <a:ahLst/>
          <a:cxnLst/>
          <a:rect l="0" t="0" r="0" b="0"/>
          <a:pathLst>
            <a:path>
              <a:moveTo>
                <a:pt x="134294" y="0"/>
              </a:moveTo>
              <a:lnTo>
                <a:pt x="134294" y="112807"/>
              </a:lnTo>
              <a:lnTo>
                <a:pt x="0" y="112807"/>
              </a:lnTo>
              <a:lnTo>
                <a:pt x="0" y="22561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2BD802-BF83-415A-AED6-A8AEE65C718B}">
      <dsp:nvSpPr>
        <dsp:cNvPr id="0" name=""/>
        <dsp:cNvSpPr/>
      </dsp:nvSpPr>
      <dsp:spPr>
        <a:xfrm>
          <a:off x="108458" y="2780816"/>
          <a:ext cx="161152" cy="15813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81361"/>
              </a:lnTo>
              <a:lnTo>
                <a:pt x="161152" y="158136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285E9D-B462-4456-8ED7-DDC2E8C76837}">
      <dsp:nvSpPr>
        <dsp:cNvPr id="0" name=""/>
        <dsp:cNvSpPr/>
      </dsp:nvSpPr>
      <dsp:spPr>
        <a:xfrm>
          <a:off x="108458" y="2780816"/>
          <a:ext cx="161152" cy="6563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56386"/>
              </a:lnTo>
              <a:lnTo>
                <a:pt x="161152" y="656386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2F14F4-F80C-499C-898D-658D05F28B49}">
      <dsp:nvSpPr>
        <dsp:cNvPr id="0" name=""/>
        <dsp:cNvSpPr/>
      </dsp:nvSpPr>
      <dsp:spPr>
        <a:xfrm>
          <a:off x="538199" y="1637995"/>
          <a:ext cx="1434261" cy="225614"/>
        </a:xfrm>
        <a:custGeom>
          <a:avLst/>
          <a:gdLst/>
          <a:ahLst/>
          <a:cxnLst/>
          <a:rect l="0" t="0" r="0" b="0"/>
          <a:pathLst>
            <a:path>
              <a:moveTo>
                <a:pt x="1434261" y="0"/>
              </a:moveTo>
              <a:lnTo>
                <a:pt x="1434261" y="112807"/>
              </a:lnTo>
              <a:lnTo>
                <a:pt x="0" y="112807"/>
              </a:lnTo>
              <a:lnTo>
                <a:pt x="0" y="225614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A55980-77AF-44D0-A3F7-3BC269961AEC}">
      <dsp:nvSpPr>
        <dsp:cNvPr id="0" name=""/>
        <dsp:cNvSpPr/>
      </dsp:nvSpPr>
      <dsp:spPr>
        <a:xfrm>
          <a:off x="1972460" y="691028"/>
          <a:ext cx="2368341" cy="409790"/>
        </a:xfrm>
        <a:custGeom>
          <a:avLst/>
          <a:gdLst/>
          <a:ahLst/>
          <a:cxnLst/>
          <a:rect l="0" t="0" r="0" b="0"/>
          <a:pathLst>
            <a:path>
              <a:moveTo>
                <a:pt x="2368341" y="0"/>
              </a:moveTo>
              <a:lnTo>
                <a:pt x="2368341" y="296983"/>
              </a:lnTo>
              <a:lnTo>
                <a:pt x="0" y="296983"/>
              </a:lnTo>
              <a:lnTo>
                <a:pt x="0" y="409790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BA7490-6ACB-4B33-883C-6FA120FC9D65}">
      <dsp:nvSpPr>
        <dsp:cNvPr id="0" name=""/>
        <dsp:cNvSpPr/>
      </dsp:nvSpPr>
      <dsp:spPr>
        <a:xfrm>
          <a:off x="3411583" y="153851"/>
          <a:ext cx="1858437" cy="53717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Performance</a:t>
          </a:r>
          <a:endParaRPr lang="en-US" sz="2400" kern="1200" dirty="0"/>
        </a:p>
      </dsp:txBody>
      <dsp:txXfrm>
        <a:off x="3411583" y="153851"/>
        <a:ext cx="1858437" cy="537176"/>
      </dsp:txXfrm>
    </dsp:sp>
    <dsp:sp modelId="{029320F6-83FB-4A89-9054-D9E9E12EE9BC}">
      <dsp:nvSpPr>
        <dsp:cNvPr id="0" name=""/>
        <dsp:cNvSpPr/>
      </dsp:nvSpPr>
      <dsp:spPr>
        <a:xfrm>
          <a:off x="1219199" y="1100818"/>
          <a:ext cx="1506522" cy="53717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Control Resource Demand</a:t>
          </a:r>
          <a:endParaRPr lang="en-US" sz="1600" kern="1200"/>
        </a:p>
      </dsp:txBody>
      <dsp:txXfrm>
        <a:off x="1219199" y="1100818"/>
        <a:ext cx="1506522" cy="537176"/>
      </dsp:txXfrm>
    </dsp:sp>
    <dsp:sp modelId="{5A63B776-8325-407C-949F-EF4E998D6E29}">
      <dsp:nvSpPr>
        <dsp:cNvPr id="0" name=""/>
        <dsp:cNvSpPr/>
      </dsp:nvSpPr>
      <dsp:spPr>
        <a:xfrm>
          <a:off x="1023" y="1863609"/>
          <a:ext cx="1074353" cy="917207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educe resource </a:t>
          </a:r>
          <a:r>
            <a:rPr lang="en-US" sz="1600" kern="1200" dirty="0" err="1" smtClean="0"/>
            <a:t>reqd</a:t>
          </a:r>
          <a:endParaRPr lang="en-US" sz="1600" kern="1200" dirty="0"/>
        </a:p>
      </dsp:txBody>
      <dsp:txXfrm>
        <a:off x="1023" y="1863609"/>
        <a:ext cx="1074353" cy="917207"/>
      </dsp:txXfrm>
    </dsp:sp>
    <dsp:sp modelId="{EC11BC86-6BAE-45D5-BE76-F78A05459AB0}">
      <dsp:nvSpPr>
        <dsp:cNvPr id="0" name=""/>
        <dsp:cNvSpPr/>
      </dsp:nvSpPr>
      <dsp:spPr>
        <a:xfrm>
          <a:off x="269611" y="3006430"/>
          <a:ext cx="1074353" cy="861545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ncrease in compute efficiency</a:t>
          </a:r>
          <a:endParaRPr lang="en-US" sz="1600" kern="1200" dirty="0"/>
        </a:p>
      </dsp:txBody>
      <dsp:txXfrm>
        <a:off x="269611" y="3006430"/>
        <a:ext cx="1074353" cy="861545"/>
      </dsp:txXfrm>
    </dsp:sp>
    <dsp:sp modelId="{C7CAA8CC-E8AB-4416-AC75-95F821E67A5E}">
      <dsp:nvSpPr>
        <dsp:cNvPr id="0" name=""/>
        <dsp:cNvSpPr/>
      </dsp:nvSpPr>
      <dsp:spPr>
        <a:xfrm>
          <a:off x="269611" y="4093590"/>
          <a:ext cx="1074353" cy="537176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Reduce overhead</a:t>
          </a:r>
          <a:endParaRPr lang="en-US" sz="1600" kern="1200"/>
        </a:p>
      </dsp:txBody>
      <dsp:txXfrm>
        <a:off x="269611" y="4093590"/>
        <a:ext cx="1074353" cy="537176"/>
      </dsp:txXfrm>
    </dsp:sp>
    <dsp:sp modelId="{63FC501E-E654-41F7-BA6A-0BF70B2D3C70}">
      <dsp:nvSpPr>
        <dsp:cNvPr id="0" name=""/>
        <dsp:cNvSpPr/>
      </dsp:nvSpPr>
      <dsp:spPr>
        <a:xfrm>
          <a:off x="1300990" y="1863609"/>
          <a:ext cx="1074353" cy="537176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Reduce #of events</a:t>
          </a:r>
          <a:endParaRPr lang="en-US" sz="1600" kern="1200"/>
        </a:p>
      </dsp:txBody>
      <dsp:txXfrm>
        <a:off x="1300990" y="1863609"/>
        <a:ext cx="1074353" cy="537176"/>
      </dsp:txXfrm>
    </dsp:sp>
    <dsp:sp modelId="{F262B25E-D781-4D44-82CD-CC9D501578F2}">
      <dsp:nvSpPr>
        <dsp:cNvPr id="0" name=""/>
        <dsp:cNvSpPr/>
      </dsp:nvSpPr>
      <dsp:spPr>
        <a:xfrm>
          <a:off x="1569578" y="2626399"/>
          <a:ext cx="1074353" cy="537176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Manage event rate</a:t>
          </a:r>
          <a:endParaRPr lang="en-US" sz="1600" kern="1200"/>
        </a:p>
      </dsp:txBody>
      <dsp:txXfrm>
        <a:off x="1569578" y="2626399"/>
        <a:ext cx="1074353" cy="537176"/>
      </dsp:txXfrm>
    </dsp:sp>
    <dsp:sp modelId="{1B48FE02-8066-4510-AB7C-F56BD51BDF4B}">
      <dsp:nvSpPr>
        <dsp:cNvPr id="0" name=""/>
        <dsp:cNvSpPr/>
      </dsp:nvSpPr>
      <dsp:spPr>
        <a:xfrm>
          <a:off x="1569578" y="3389190"/>
          <a:ext cx="1074353" cy="810803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ontrol sampling </a:t>
          </a:r>
          <a:r>
            <a:rPr lang="en-US" sz="1600" kern="1200" dirty="0" err="1" smtClean="0"/>
            <a:t>freq</a:t>
          </a:r>
          <a:endParaRPr lang="en-US" sz="1600" kern="1200" dirty="0"/>
        </a:p>
      </dsp:txBody>
      <dsp:txXfrm>
        <a:off x="1569578" y="3389190"/>
        <a:ext cx="1074353" cy="810803"/>
      </dsp:txXfrm>
    </dsp:sp>
    <dsp:sp modelId="{7E66F63D-8FA6-42BB-A62A-C349B7EA69C6}">
      <dsp:nvSpPr>
        <dsp:cNvPr id="0" name=""/>
        <dsp:cNvSpPr/>
      </dsp:nvSpPr>
      <dsp:spPr>
        <a:xfrm>
          <a:off x="2869545" y="1863609"/>
          <a:ext cx="1074353" cy="832145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ontrol resource usage</a:t>
          </a:r>
          <a:endParaRPr lang="en-US" sz="1600" kern="1200" dirty="0"/>
        </a:p>
      </dsp:txBody>
      <dsp:txXfrm>
        <a:off x="2869545" y="1863609"/>
        <a:ext cx="1074353" cy="832145"/>
      </dsp:txXfrm>
    </dsp:sp>
    <dsp:sp modelId="{A45277E3-0420-4505-9B32-E8C33D91C7D0}">
      <dsp:nvSpPr>
        <dsp:cNvPr id="0" name=""/>
        <dsp:cNvSpPr/>
      </dsp:nvSpPr>
      <dsp:spPr>
        <a:xfrm>
          <a:off x="3138134" y="2921368"/>
          <a:ext cx="878981" cy="832145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Bound execution time</a:t>
          </a:r>
          <a:endParaRPr lang="en-US" sz="1600" kern="1200" dirty="0"/>
        </a:p>
      </dsp:txBody>
      <dsp:txXfrm>
        <a:off x="3138134" y="2921368"/>
        <a:ext cx="878981" cy="832145"/>
      </dsp:txXfrm>
    </dsp:sp>
    <dsp:sp modelId="{619A917E-2FE0-4D54-B500-A6523829D53A}">
      <dsp:nvSpPr>
        <dsp:cNvPr id="0" name=""/>
        <dsp:cNvSpPr/>
      </dsp:nvSpPr>
      <dsp:spPr>
        <a:xfrm>
          <a:off x="3138134" y="3979128"/>
          <a:ext cx="1074353" cy="537176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Bound queue size</a:t>
          </a:r>
          <a:endParaRPr lang="en-US" sz="1600" kern="1200" dirty="0"/>
        </a:p>
      </dsp:txBody>
      <dsp:txXfrm>
        <a:off x="3138134" y="3979128"/>
        <a:ext cx="1074353" cy="537176"/>
      </dsp:txXfrm>
    </dsp:sp>
    <dsp:sp modelId="{8C3924C6-95D7-4CDA-A998-F6CD342F1665}">
      <dsp:nvSpPr>
        <dsp:cNvPr id="0" name=""/>
        <dsp:cNvSpPr/>
      </dsp:nvSpPr>
      <dsp:spPr>
        <a:xfrm>
          <a:off x="4124446" y="1100818"/>
          <a:ext cx="1254618" cy="53717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esource Management</a:t>
          </a:r>
          <a:endParaRPr lang="en-US" sz="1600" kern="1200" dirty="0"/>
        </a:p>
      </dsp:txBody>
      <dsp:txXfrm>
        <a:off x="4124446" y="1100818"/>
        <a:ext cx="1254618" cy="537176"/>
      </dsp:txXfrm>
    </dsp:sp>
    <dsp:sp modelId="{5677D944-029C-484C-80A5-13BC10A104E4}">
      <dsp:nvSpPr>
        <dsp:cNvPr id="0" name=""/>
        <dsp:cNvSpPr/>
      </dsp:nvSpPr>
      <dsp:spPr>
        <a:xfrm>
          <a:off x="4438101" y="1863609"/>
          <a:ext cx="1074353" cy="537176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smtClean="0"/>
            <a:t>Increase concurrency</a:t>
          </a:r>
          <a:endParaRPr lang="en-US" sz="1600" kern="1200"/>
        </a:p>
      </dsp:txBody>
      <dsp:txXfrm>
        <a:off x="4438101" y="1863609"/>
        <a:ext cx="1074353" cy="537176"/>
      </dsp:txXfrm>
    </dsp:sp>
    <dsp:sp modelId="{B29D70E0-3C5F-46EB-8055-DA38CAFC89E3}">
      <dsp:nvSpPr>
        <dsp:cNvPr id="0" name=""/>
        <dsp:cNvSpPr/>
      </dsp:nvSpPr>
      <dsp:spPr>
        <a:xfrm>
          <a:off x="4438101" y="2626399"/>
          <a:ext cx="1221829" cy="1301981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Maintain multiple copies of data/ computation</a:t>
          </a:r>
          <a:endParaRPr lang="en-US" sz="1600" kern="1200" dirty="0"/>
        </a:p>
      </dsp:txBody>
      <dsp:txXfrm>
        <a:off x="4438101" y="2626399"/>
        <a:ext cx="1221829" cy="1301981"/>
      </dsp:txXfrm>
    </dsp:sp>
    <dsp:sp modelId="{313ED6A2-462B-4141-834D-9A74299512E5}">
      <dsp:nvSpPr>
        <dsp:cNvPr id="0" name=""/>
        <dsp:cNvSpPr/>
      </dsp:nvSpPr>
      <dsp:spPr>
        <a:xfrm>
          <a:off x="4438101" y="4357139"/>
          <a:ext cx="1074353" cy="537176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smtClean="0"/>
            <a:t>Increase Resource</a:t>
          </a:r>
          <a:endParaRPr lang="en-US" sz="1600" kern="1200"/>
        </a:p>
      </dsp:txBody>
      <dsp:txXfrm>
        <a:off x="4438101" y="4357139"/>
        <a:ext cx="1074353" cy="537176"/>
      </dsp:txXfrm>
    </dsp:sp>
    <dsp:sp modelId="{FB8A078E-B2AD-4CEF-B649-EE1D8B296623}">
      <dsp:nvSpPr>
        <dsp:cNvPr id="0" name=""/>
        <dsp:cNvSpPr/>
      </dsp:nvSpPr>
      <dsp:spPr>
        <a:xfrm>
          <a:off x="6388051" y="1100818"/>
          <a:ext cx="1074353" cy="53717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Resource Arbitration</a:t>
          </a:r>
          <a:endParaRPr lang="en-US" sz="1600" kern="1200"/>
        </a:p>
      </dsp:txBody>
      <dsp:txXfrm>
        <a:off x="6388051" y="1100818"/>
        <a:ext cx="1074353" cy="537176"/>
      </dsp:txXfrm>
    </dsp:sp>
    <dsp:sp modelId="{5EF3B480-E935-4555-B3CF-B0EEC2DD1246}">
      <dsp:nvSpPr>
        <dsp:cNvPr id="0" name=""/>
        <dsp:cNvSpPr/>
      </dsp:nvSpPr>
      <dsp:spPr>
        <a:xfrm>
          <a:off x="5738068" y="1863609"/>
          <a:ext cx="1074353" cy="537176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FIFO</a:t>
          </a:r>
          <a:endParaRPr lang="en-US" sz="1600" kern="1200"/>
        </a:p>
      </dsp:txBody>
      <dsp:txXfrm>
        <a:off x="5738068" y="1863609"/>
        <a:ext cx="1074353" cy="537176"/>
      </dsp:txXfrm>
    </dsp:sp>
    <dsp:sp modelId="{A58FAC38-F844-4ED7-8E05-301D65C37F2F}">
      <dsp:nvSpPr>
        <dsp:cNvPr id="0" name=""/>
        <dsp:cNvSpPr/>
      </dsp:nvSpPr>
      <dsp:spPr>
        <a:xfrm>
          <a:off x="7038035" y="1863609"/>
          <a:ext cx="1074353" cy="537176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Scheduling policy</a:t>
          </a:r>
          <a:endParaRPr lang="en-US" sz="1600" kern="1200"/>
        </a:p>
      </dsp:txBody>
      <dsp:txXfrm>
        <a:off x="7038035" y="1863609"/>
        <a:ext cx="1074353" cy="537176"/>
      </dsp:txXfrm>
    </dsp:sp>
    <dsp:sp modelId="{25C1F27A-1E2D-4892-BB4F-57A7E4F11EDF}">
      <dsp:nvSpPr>
        <dsp:cNvPr id="0" name=""/>
        <dsp:cNvSpPr/>
      </dsp:nvSpPr>
      <dsp:spPr>
        <a:xfrm>
          <a:off x="7306623" y="2626399"/>
          <a:ext cx="1074353" cy="537176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Static </a:t>
          </a:r>
          <a:endParaRPr lang="en-US" sz="1600" kern="1200"/>
        </a:p>
      </dsp:txBody>
      <dsp:txXfrm>
        <a:off x="7306623" y="2626399"/>
        <a:ext cx="1074353" cy="537176"/>
      </dsp:txXfrm>
    </dsp:sp>
    <dsp:sp modelId="{DD7130DD-593A-4323-998D-55A96692D1AD}">
      <dsp:nvSpPr>
        <dsp:cNvPr id="0" name=""/>
        <dsp:cNvSpPr/>
      </dsp:nvSpPr>
      <dsp:spPr>
        <a:xfrm>
          <a:off x="7306623" y="3389190"/>
          <a:ext cx="1074353" cy="537176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Dynamic priority</a:t>
          </a:r>
          <a:endParaRPr lang="en-US" sz="1600" kern="1200"/>
        </a:p>
      </dsp:txBody>
      <dsp:txXfrm>
        <a:off x="7306623" y="3389190"/>
        <a:ext cx="1074353" cy="537176"/>
      </dsp:txXfrm>
    </dsp:sp>
    <dsp:sp modelId="{4C681653-6A95-44B8-8E18-604E239A8921}">
      <dsp:nvSpPr>
        <dsp:cNvPr id="0" name=""/>
        <dsp:cNvSpPr/>
      </dsp:nvSpPr>
      <dsp:spPr>
        <a:xfrm>
          <a:off x="7306623" y="4151981"/>
          <a:ext cx="1074353" cy="537176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Fixed priority</a:t>
          </a:r>
          <a:endParaRPr lang="en-US" sz="1600" kern="1200"/>
        </a:p>
      </dsp:txBody>
      <dsp:txXfrm>
        <a:off x="7306623" y="4151981"/>
        <a:ext cx="1074353" cy="53717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70828E-DDD4-480C-BDFF-1E596F6615D1}">
      <dsp:nvSpPr>
        <dsp:cNvPr id="0" name=""/>
        <dsp:cNvSpPr/>
      </dsp:nvSpPr>
      <dsp:spPr>
        <a:xfrm>
          <a:off x="6262109" y="3599426"/>
          <a:ext cx="161382" cy="7150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5036"/>
              </a:lnTo>
              <a:lnTo>
                <a:pt x="161382" y="715036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1682D2-6375-4500-994F-C7CC83594561}">
      <dsp:nvSpPr>
        <dsp:cNvPr id="0" name=""/>
        <dsp:cNvSpPr/>
      </dsp:nvSpPr>
      <dsp:spPr>
        <a:xfrm>
          <a:off x="6800998" y="1480042"/>
          <a:ext cx="125546" cy="16647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69219"/>
              </a:lnTo>
              <a:lnTo>
                <a:pt x="125546" y="1569219"/>
              </a:lnTo>
              <a:lnTo>
                <a:pt x="125546" y="1664702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C6CEE4-3F67-4FA6-8639-65EC4CCFF4D9}">
      <dsp:nvSpPr>
        <dsp:cNvPr id="0" name=""/>
        <dsp:cNvSpPr/>
      </dsp:nvSpPr>
      <dsp:spPr>
        <a:xfrm>
          <a:off x="6800998" y="1480042"/>
          <a:ext cx="821501" cy="7256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0147"/>
              </a:lnTo>
              <a:lnTo>
                <a:pt x="821501" y="630147"/>
              </a:lnTo>
              <a:lnTo>
                <a:pt x="821501" y="725630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62ECC0-9994-4B01-9E77-D5C13C496118}">
      <dsp:nvSpPr>
        <dsp:cNvPr id="0" name=""/>
        <dsp:cNvSpPr/>
      </dsp:nvSpPr>
      <dsp:spPr>
        <a:xfrm>
          <a:off x="3655945" y="313207"/>
          <a:ext cx="3145052" cy="7121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16670"/>
              </a:lnTo>
              <a:lnTo>
                <a:pt x="3145052" y="616670"/>
              </a:lnTo>
              <a:lnTo>
                <a:pt x="3145052" y="712153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628582-088E-42FA-B6EC-953F652565B0}">
      <dsp:nvSpPr>
        <dsp:cNvPr id="0" name=""/>
        <dsp:cNvSpPr/>
      </dsp:nvSpPr>
      <dsp:spPr>
        <a:xfrm>
          <a:off x="4308473" y="1501853"/>
          <a:ext cx="279530" cy="20988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98841"/>
              </a:lnTo>
              <a:lnTo>
                <a:pt x="279530" y="209884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E82B1A-B1F2-4CC5-9B64-B60015CBF624}">
      <dsp:nvSpPr>
        <dsp:cNvPr id="0" name=""/>
        <dsp:cNvSpPr/>
      </dsp:nvSpPr>
      <dsp:spPr>
        <a:xfrm>
          <a:off x="4308473" y="1501853"/>
          <a:ext cx="279530" cy="14531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53194"/>
              </a:lnTo>
              <a:lnTo>
                <a:pt x="279530" y="145319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DC7120-FE6F-49D8-95F2-AB1B2B6AC9A8}">
      <dsp:nvSpPr>
        <dsp:cNvPr id="0" name=""/>
        <dsp:cNvSpPr/>
      </dsp:nvSpPr>
      <dsp:spPr>
        <a:xfrm>
          <a:off x="4308473" y="1501853"/>
          <a:ext cx="279530" cy="8075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07546"/>
              </a:lnTo>
              <a:lnTo>
                <a:pt x="279530" y="807546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7CAE9-66E1-459B-A733-9B53B02E07AF}">
      <dsp:nvSpPr>
        <dsp:cNvPr id="0" name=""/>
        <dsp:cNvSpPr/>
      </dsp:nvSpPr>
      <dsp:spPr>
        <a:xfrm>
          <a:off x="3655945" y="313207"/>
          <a:ext cx="1076538" cy="7339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8481"/>
              </a:lnTo>
              <a:lnTo>
                <a:pt x="1076538" y="638481"/>
              </a:lnTo>
              <a:lnTo>
                <a:pt x="1076538" y="733964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40857E-8E92-4FD3-BB54-32F6C167CD09}">
      <dsp:nvSpPr>
        <dsp:cNvPr id="0" name=""/>
        <dsp:cNvSpPr/>
      </dsp:nvSpPr>
      <dsp:spPr>
        <a:xfrm>
          <a:off x="2224532" y="1477523"/>
          <a:ext cx="92664" cy="33243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4335"/>
              </a:lnTo>
              <a:lnTo>
                <a:pt x="92664" y="3324335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94D9E8-C2A3-4765-9477-D710CC646957}">
      <dsp:nvSpPr>
        <dsp:cNvPr id="0" name=""/>
        <dsp:cNvSpPr/>
      </dsp:nvSpPr>
      <dsp:spPr>
        <a:xfrm>
          <a:off x="2224532" y="1477523"/>
          <a:ext cx="92664" cy="27147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4735"/>
              </a:lnTo>
              <a:lnTo>
                <a:pt x="92664" y="2714735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4D3FE4-1739-4B3C-ACD2-597D18FBC50F}">
      <dsp:nvSpPr>
        <dsp:cNvPr id="0" name=""/>
        <dsp:cNvSpPr/>
      </dsp:nvSpPr>
      <dsp:spPr>
        <a:xfrm>
          <a:off x="2224532" y="1477523"/>
          <a:ext cx="92664" cy="20428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42838"/>
              </a:lnTo>
              <a:lnTo>
                <a:pt x="92664" y="204283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10A4AF-D8A8-4F2D-9661-56E5DBB5B2C5}">
      <dsp:nvSpPr>
        <dsp:cNvPr id="0" name=""/>
        <dsp:cNvSpPr/>
      </dsp:nvSpPr>
      <dsp:spPr>
        <a:xfrm>
          <a:off x="2224532" y="1477523"/>
          <a:ext cx="92664" cy="1351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51734"/>
              </a:lnTo>
              <a:lnTo>
                <a:pt x="92664" y="135173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07306D-4BD7-4477-BB61-A954489058D6}">
      <dsp:nvSpPr>
        <dsp:cNvPr id="0" name=""/>
        <dsp:cNvSpPr/>
      </dsp:nvSpPr>
      <dsp:spPr>
        <a:xfrm>
          <a:off x="2224532" y="1477523"/>
          <a:ext cx="92664" cy="7515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51561"/>
              </a:lnTo>
              <a:lnTo>
                <a:pt x="92664" y="75156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956835-3386-449C-A89B-65F7C680246D}">
      <dsp:nvSpPr>
        <dsp:cNvPr id="0" name=""/>
        <dsp:cNvSpPr/>
      </dsp:nvSpPr>
      <dsp:spPr>
        <a:xfrm>
          <a:off x="2588278" y="313207"/>
          <a:ext cx="1067667" cy="709634"/>
        </a:xfrm>
        <a:custGeom>
          <a:avLst/>
          <a:gdLst/>
          <a:ahLst/>
          <a:cxnLst/>
          <a:rect l="0" t="0" r="0" b="0"/>
          <a:pathLst>
            <a:path>
              <a:moveTo>
                <a:pt x="1067667" y="0"/>
              </a:moveTo>
              <a:lnTo>
                <a:pt x="1067667" y="614151"/>
              </a:lnTo>
              <a:lnTo>
                <a:pt x="0" y="614151"/>
              </a:lnTo>
              <a:lnTo>
                <a:pt x="0" y="709634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62AD45-37CE-4E4E-81E1-98A75BFFED33}">
      <dsp:nvSpPr>
        <dsp:cNvPr id="0" name=""/>
        <dsp:cNvSpPr/>
      </dsp:nvSpPr>
      <dsp:spPr>
        <a:xfrm>
          <a:off x="248377" y="1403842"/>
          <a:ext cx="158938" cy="328627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86272"/>
              </a:lnTo>
              <a:lnTo>
                <a:pt x="158938" y="3286272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C84909-550F-4BDC-8966-B86E5E1786AE}">
      <dsp:nvSpPr>
        <dsp:cNvPr id="0" name=""/>
        <dsp:cNvSpPr/>
      </dsp:nvSpPr>
      <dsp:spPr>
        <a:xfrm>
          <a:off x="248377" y="1403842"/>
          <a:ext cx="294360" cy="24505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50503"/>
              </a:lnTo>
              <a:lnTo>
                <a:pt x="294360" y="2450503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B3E9C0-0CE1-4B88-9E71-F7CE1A7F99D7}">
      <dsp:nvSpPr>
        <dsp:cNvPr id="0" name=""/>
        <dsp:cNvSpPr/>
      </dsp:nvSpPr>
      <dsp:spPr>
        <a:xfrm>
          <a:off x="248377" y="1403842"/>
          <a:ext cx="313293" cy="16992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99231"/>
              </a:lnTo>
              <a:lnTo>
                <a:pt x="313293" y="169923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3ED5F7-10A0-45C9-B814-5804FA76917E}">
      <dsp:nvSpPr>
        <dsp:cNvPr id="0" name=""/>
        <dsp:cNvSpPr/>
      </dsp:nvSpPr>
      <dsp:spPr>
        <a:xfrm>
          <a:off x="248377" y="1403842"/>
          <a:ext cx="294360" cy="99576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95763"/>
              </a:lnTo>
              <a:lnTo>
                <a:pt x="294360" y="995763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BC68A0-CABF-4126-884C-C90818E1E26E}">
      <dsp:nvSpPr>
        <dsp:cNvPr id="0" name=""/>
        <dsp:cNvSpPr/>
      </dsp:nvSpPr>
      <dsp:spPr>
        <a:xfrm>
          <a:off x="612123" y="313207"/>
          <a:ext cx="3043822" cy="677393"/>
        </a:xfrm>
        <a:custGeom>
          <a:avLst/>
          <a:gdLst/>
          <a:ahLst/>
          <a:cxnLst/>
          <a:rect l="0" t="0" r="0" b="0"/>
          <a:pathLst>
            <a:path>
              <a:moveTo>
                <a:pt x="3043822" y="0"/>
              </a:moveTo>
              <a:lnTo>
                <a:pt x="3043822" y="581910"/>
              </a:lnTo>
              <a:lnTo>
                <a:pt x="0" y="581910"/>
              </a:lnTo>
              <a:lnTo>
                <a:pt x="0" y="677393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D90FEA-3135-49C2-A3C0-CFEDDC6405B3}">
      <dsp:nvSpPr>
        <dsp:cNvPr id="0" name=""/>
        <dsp:cNvSpPr/>
      </dsp:nvSpPr>
      <dsp:spPr>
        <a:xfrm>
          <a:off x="2667004" y="0"/>
          <a:ext cx="1977882" cy="313207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Security</a:t>
          </a:r>
          <a:endParaRPr lang="en-US" sz="2000" kern="1200" dirty="0"/>
        </a:p>
      </dsp:txBody>
      <dsp:txXfrm>
        <a:off x="2667004" y="0"/>
        <a:ext cx="1977882" cy="313207"/>
      </dsp:txXfrm>
    </dsp:sp>
    <dsp:sp modelId="{5E5C4910-D5C2-4117-9825-0F4E2308A1D4}">
      <dsp:nvSpPr>
        <dsp:cNvPr id="0" name=""/>
        <dsp:cNvSpPr/>
      </dsp:nvSpPr>
      <dsp:spPr>
        <a:xfrm>
          <a:off x="157441" y="990600"/>
          <a:ext cx="909363" cy="41324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Detect</a:t>
          </a:r>
          <a:endParaRPr lang="en-US" sz="1800" kern="1200" dirty="0"/>
        </a:p>
      </dsp:txBody>
      <dsp:txXfrm>
        <a:off x="157441" y="990600"/>
        <a:ext cx="909363" cy="413241"/>
      </dsp:txXfrm>
    </dsp:sp>
    <dsp:sp modelId="{1064D61A-5C37-497D-A6F5-6312AB6E3F5A}">
      <dsp:nvSpPr>
        <dsp:cNvPr id="0" name=""/>
        <dsp:cNvSpPr/>
      </dsp:nvSpPr>
      <dsp:spPr>
        <a:xfrm>
          <a:off x="542738" y="2127336"/>
          <a:ext cx="1209862" cy="544540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ntrusion detection</a:t>
          </a:r>
          <a:endParaRPr lang="en-US" sz="1600" kern="1200" dirty="0"/>
        </a:p>
      </dsp:txBody>
      <dsp:txXfrm>
        <a:off x="542738" y="2127336"/>
        <a:ext cx="1209862" cy="544540"/>
      </dsp:txXfrm>
    </dsp:sp>
    <dsp:sp modelId="{A77E27D0-EFD7-495B-9E1A-5A5371B8AB84}">
      <dsp:nvSpPr>
        <dsp:cNvPr id="0" name=""/>
        <dsp:cNvSpPr/>
      </dsp:nvSpPr>
      <dsp:spPr>
        <a:xfrm>
          <a:off x="561671" y="2832320"/>
          <a:ext cx="1190929" cy="541507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etect service denial</a:t>
          </a:r>
          <a:endParaRPr lang="en-US" sz="1600" kern="1200" dirty="0"/>
        </a:p>
      </dsp:txBody>
      <dsp:txXfrm>
        <a:off x="561671" y="2832320"/>
        <a:ext cx="1190929" cy="541507"/>
      </dsp:txXfrm>
    </dsp:sp>
    <dsp:sp modelId="{984A4F3B-0A00-4E5A-9092-1922B8A7FAB3}">
      <dsp:nvSpPr>
        <dsp:cNvPr id="0" name=""/>
        <dsp:cNvSpPr/>
      </dsp:nvSpPr>
      <dsp:spPr>
        <a:xfrm>
          <a:off x="542738" y="3507231"/>
          <a:ext cx="1209862" cy="694230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Verify message integrity</a:t>
          </a:r>
          <a:endParaRPr lang="en-US" sz="1600" kern="1200" dirty="0"/>
        </a:p>
      </dsp:txBody>
      <dsp:txXfrm>
        <a:off x="542738" y="3507231"/>
        <a:ext cx="1209862" cy="694230"/>
      </dsp:txXfrm>
    </dsp:sp>
    <dsp:sp modelId="{E8D3E92A-0794-4DFF-ADF5-83A9F9869BDA}">
      <dsp:nvSpPr>
        <dsp:cNvPr id="0" name=""/>
        <dsp:cNvSpPr/>
      </dsp:nvSpPr>
      <dsp:spPr>
        <a:xfrm>
          <a:off x="407316" y="4409205"/>
          <a:ext cx="1345284" cy="561818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etect message delay</a:t>
          </a:r>
          <a:endParaRPr lang="en-US" sz="1600" kern="1200" dirty="0"/>
        </a:p>
      </dsp:txBody>
      <dsp:txXfrm>
        <a:off x="407316" y="4409205"/>
        <a:ext cx="1345284" cy="561818"/>
      </dsp:txXfrm>
    </dsp:sp>
    <dsp:sp modelId="{F0ED6141-24DB-4164-A2D4-B51E750525CD}">
      <dsp:nvSpPr>
        <dsp:cNvPr id="0" name=""/>
        <dsp:cNvSpPr/>
      </dsp:nvSpPr>
      <dsp:spPr>
        <a:xfrm>
          <a:off x="2133596" y="1022842"/>
          <a:ext cx="909363" cy="45468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sist/ Prevent</a:t>
          </a:r>
          <a:endParaRPr lang="en-US" sz="1800" kern="1200" dirty="0"/>
        </a:p>
      </dsp:txBody>
      <dsp:txXfrm>
        <a:off x="2133596" y="1022842"/>
        <a:ext cx="909363" cy="454681"/>
      </dsp:txXfrm>
    </dsp:sp>
    <dsp:sp modelId="{CBCDE87F-FA6C-44B8-A9C2-1E747BE7F736}">
      <dsp:nvSpPr>
        <dsp:cNvPr id="0" name=""/>
        <dsp:cNvSpPr/>
      </dsp:nvSpPr>
      <dsp:spPr>
        <a:xfrm>
          <a:off x="2317197" y="2001744"/>
          <a:ext cx="1188874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dentify actors</a:t>
          </a:r>
          <a:endParaRPr lang="en-US" sz="1600" kern="1200" dirty="0"/>
        </a:p>
      </dsp:txBody>
      <dsp:txXfrm>
        <a:off x="2317197" y="2001744"/>
        <a:ext cx="1188874" cy="454681"/>
      </dsp:txXfrm>
    </dsp:sp>
    <dsp:sp modelId="{5D0F02D1-4A23-4B53-AF4F-3529BE69829E}">
      <dsp:nvSpPr>
        <dsp:cNvPr id="0" name=""/>
        <dsp:cNvSpPr/>
      </dsp:nvSpPr>
      <dsp:spPr>
        <a:xfrm>
          <a:off x="2317197" y="2528229"/>
          <a:ext cx="1573789" cy="602057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uthenticate and authorize actors</a:t>
          </a:r>
          <a:endParaRPr lang="en-US" sz="1600" kern="1200" dirty="0"/>
        </a:p>
      </dsp:txBody>
      <dsp:txXfrm>
        <a:off x="2317197" y="2528229"/>
        <a:ext cx="1573789" cy="602057"/>
      </dsp:txXfrm>
    </dsp:sp>
    <dsp:sp modelId="{7BABB840-5689-4566-85C9-55C4A127C4C6}">
      <dsp:nvSpPr>
        <dsp:cNvPr id="0" name=""/>
        <dsp:cNvSpPr/>
      </dsp:nvSpPr>
      <dsp:spPr>
        <a:xfrm>
          <a:off x="2317197" y="3293021"/>
          <a:ext cx="1379312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Limit access and exposure</a:t>
          </a:r>
          <a:endParaRPr lang="en-US" sz="1600" kern="1200" dirty="0"/>
        </a:p>
      </dsp:txBody>
      <dsp:txXfrm>
        <a:off x="2317197" y="3293021"/>
        <a:ext cx="1379312" cy="454681"/>
      </dsp:txXfrm>
    </dsp:sp>
    <dsp:sp modelId="{50D60845-A14B-4DD0-8DB4-8B07FEB31A21}">
      <dsp:nvSpPr>
        <dsp:cNvPr id="0" name=""/>
        <dsp:cNvSpPr/>
      </dsp:nvSpPr>
      <dsp:spPr>
        <a:xfrm>
          <a:off x="2317197" y="3964918"/>
          <a:ext cx="1488818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Maintain data confidentiality</a:t>
          </a:r>
          <a:endParaRPr lang="en-US" sz="1600" kern="1200" dirty="0"/>
        </a:p>
      </dsp:txBody>
      <dsp:txXfrm>
        <a:off x="2317197" y="3964918"/>
        <a:ext cx="1488818" cy="454681"/>
      </dsp:txXfrm>
    </dsp:sp>
    <dsp:sp modelId="{BD1C35E1-9751-4DD4-B9AF-1CFE8C8B4E70}">
      <dsp:nvSpPr>
        <dsp:cNvPr id="0" name=""/>
        <dsp:cNvSpPr/>
      </dsp:nvSpPr>
      <dsp:spPr>
        <a:xfrm>
          <a:off x="2317197" y="4574518"/>
          <a:ext cx="1645201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hange default setting</a:t>
          </a:r>
          <a:endParaRPr lang="en-US" sz="1600" kern="1200" dirty="0"/>
        </a:p>
      </dsp:txBody>
      <dsp:txXfrm>
        <a:off x="2317197" y="4574518"/>
        <a:ext cx="1645201" cy="454681"/>
      </dsp:txXfrm>
    </dsp:sp>
    <dsp:sp modelId="{A5F2589C-C16C-45F2-9A3D-F2A6CB2476D1}">
      <dsp:nvSpPr>
        <dsp:cNvPr id="0" name=""/>
        <dsp:cNvSpPr/>
      </dsp:nvSpPr>
      <dsp:spPr>
        <a:xfrm>
          <a:off x="4202470" y="1047172"/>
          <a:ext cx="1060026" cy="45468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act</a:t>
          </a:r>
          <a:endParaRPr lang="en-US" sz="1800" kern="1200" dirty="0"/>
        </a:p>
      </dsp:txBody>
      <dsp:txXfrm>
        <a:off x="4202470" y="1047172"/>
        <a:ext cx="1060026" cy="454681"/>
      </dsp:txXfrm>
    </dsp:sp>
    <dsp:sp modelId="{6E033C69-6BA8-4812-AE4E-0022A986E944}">
      <dsp:nvSpPr>
        <dsp:cNvPr id="0" name=""/>
        <dsp:cNvSpPr/>
      </dsp:nvSpPr>
      <dsp:spPr>
        <a:xfrm>
          <a:off x="4588004" y="2082059"/>
          <a:ext cx="909363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evoke access</a:t>
          </a:r>
          <a:endParaRPr lang="en-US" sz="1600" kern="1200" dirty="0"/>
        </a:p>
      </dsp:txBody>
      <dsp:txXfrm>
        <a:off x="4588004" y="2082059"/>
        <a:ext cx="909363" cy="454681"/>
      </dsp:txXfrm>
    </dsp:sp>
    <dsp:sp modelId="{428A54D9-43F6-47B6-B3A2-FDCE09CB5A97}">
      <dsp:nvSpPr>
        <dsp:cNvPr id="0" name=""/>
        <dsp:cNvSpPr/>
      </dsp:nvSpPr>
      <dsp:spPr>
        <a:xfrm>
          <a:off x="4588004" y="2727706"/>
          <a:ext cx="909363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Lock system</a:t>
          </a:r>
          <a:endParaRPr lang="en-US" sz="1600" kern="1200" dirty="0"/>
        </a:p>
      </dsp:txBody>
      <dsp:txXfrm>
        <a:off x="4588004" y="2727706"/>
        <a:ext cx="909363" cy="454681"/>
      </dsp:txXfrm>
    </dsp:sp>
    <dsp:sp modelId="{93507A0E-B606-4F7A-9C01-283769128FF2}">
      <dsp:nvSpPr>
        <dsp:cNvPr id="0" name=""/>
        <dsp:cNvSpPr/>
      </dsp:nvSpPr>
      <dsp:spPr>
        <a:xfrm>
          <a:off x="4588004" y="3373354"/>
          <a:ext cx="909363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lert actors</a:t>
          </a:r>
          <a:endParaRPr lang="en-US" sz="1600" kern="1200" dirty="0"/>
        </a:p>
      </dsp:txBody>
      <dsp:txXfrm>
        <a:off x="4588004" y="3373354"/>
        <a:ext cx="909363" cy="454681"/>
      </dsp:txXfrm>
    </dsp:sp>
    <dsp:sp modelId="{67A44139-B3F0-4118-89E8-A44A0D503C36}">
      <dsp:nvSpPr>
        <dsp:cNvPr id="0" name=""/>
        <dsp:cNvSpPr/>
      </dsp:nvSpPr>
      <dsp:spPr>
        <a:xfrm>
          <a:off x="6346316" y="1025361"/>
          <a:ext cx="909363" cy="45468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cover</a:t>
          </a:r>
          <a:endParaRPr lang="en-US" sz="1800" kern="1200" dirty="0"/>
        </a:p>
      </dsp:txBody>
      <dsp:txXfrm>
        <a:off x="6346316" y="1025361"/>
        <a:ext cx="909363" cy="454681"/>
      </dsp:txXfrm>
    </dsp:sp>
    <dsp:sp modelId="{1B4F947A-69EB-46FF-A1EA-7664283D213E}">
      <dsp:nvSpPr>
        <dsp:cNvPr id="0" name=""/>
        <dsp:cNvSpPr/>
      </dsp:nvSpPr>
      <dsp:spPr>
        <a:xfrm>
          <a:off x="6862999" y="2205673"/>
          <a:ext cx="1519000" cy="631752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u="none" kern="1200" dirty="0" smtClean="0"/>
            <a:t>Maintain Audit trail</a:t>
          </a:r>
          <a:endParaRPr lang="en-US" sz="1600" b="0" u="none" kern="1200" dirty="0"/>
        </a:p>
      </dsp:txBody>
      <dsp:txXfrm>
        <a:off x="6862999" y="2205673"/>
        <a:ext cx="1519000" cy="631752"/>
      </dsp:txXfrm>
    </dsp:sp>
    <dsp:sp modelId="{78B1DB83-1FBB-4B72-AADA-6CBB1DAEF356}">
      <dsp:nvSpPr>
        <dsp:cNvPr id="0" name=""/>
        <dsp:cNvSpPr/>
      </dsp:nvSpPr>
      <dsp:spPr>
        <a:xfrm>
          <a:off x="6096000" y="3144745"/>
          <a:ext cx="1661088" cy="45468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estore</a:t>
          </a:r>
          <a:endParaRPr lang="en-US" sz="1600" kern="1200" dirty="0"/>
        </a:p>
      </dsp:txBody>
      <dsp:txXfrm>
        <a:off x="6096000" y="3144745"/>
        <a:ext cx="1661088" cy="454681"/>
      </dsp:txXfrm>
    </dsp:sp>
    <dsp:sp modelId="{43C79B55-7800-4403-B3B4-49E5363FFF1E}">
      <dsp:nvSpPr>
        <dsp:cNvPr id="0" name=""/>
        <dsp:cNvSpPr/>
      </dsp:nvSpPr>
      <dsp:spPr>
        <a:xfrm>
          <a:off x="6423492" y="4087122"/>
          <a:ext cx="1626386" cy="454681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Use availability tactics</a:t>
          </a:r>
          <a:endParaRPr lang="en-US" sz="1600" kern="1200" dirty="0"/>
        </a:p>
      </dsp:txBody>
      <dsp:txXfrm>
        <a:off x="6423492" y="4087122"/>
        <a:ext cx="1626386" cy="45468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E82B1A-B1F2-4CC5-9B64-B60015CBF624}">
      <dsp:nvSpPr>
        <dsp:cNvPr id="0" name=""/>
        <dsp:cNvSpPr/>
      </dsp:nvSpPr>
      <dsp:spPr>
        <a:xfrm>
          <a:off x="6286879" y="1297253"/>
          <a:ext cx="477964" cy="14951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95183"/>
              </a:lnTo>
              <a:lnTo>
                <a:pt x="477964" y="1495183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DC7120-FE6F-49D8-95F2-AB1B2B6AC9A8}">
      <dsp:nvSpPr>
        <dsp:cNvPr id="0" name=""/>
        <dsp:cNvSpPr/>
      </dsp:nvSpPr>
      <dsp:spPr>
        <a:xfrm>
          <a:off x="6286879" y="1297253"/>
          <a:ext cx="477964" cy="8357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35727"/>
              </a:lnTo>
              <a:lnTo>
                <a:pt x="477964" y="835727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7CAE9-66E1-459B-A733-9B53B02E07AF}">
      <dsp:nvSpPr>
        <dsp:cNvPr id="0" name=""/>
        <dsp:cNvSpPr/>
      </dsp:nvSpPr>
      <dsp:spPr>
        <a:xfrm>
          <a:off x="3902974" y="449059"/>
          <a:ext cx="2923789" cy="3999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767"/>
              </a:lnTo>
              <a:lnTo>
                <a:pt x="2923789" y="305767"/>
              </a:lnTo>
              <a:lnTo>
                <a:pt x="2923789" y="399907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07306D-4BD7-4477-BB61-A954489058D6}">
      <dsp:nvSpPr>
        <dsp:cNvPr id="0" name=""/>
        <dsp:cNvSpPr/>
      </dsp:nvSpPr>
      <dsp:spPr>
        <a:xfrm>
          <a:off x="3093336" y="1390873"/>
          <a:ext cx="232530" cy="10231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23198"/>
              </a:lnTo>
              <a:lnTo>
                <a:pt x="232530" y="102319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956835-3386-449C-A89B-65F7C680246D}">
      <dsp:nvSpPr>
        <dsp:cNvPr id="0" name=""/>
        <dsp:cNvSpPr/>
      </dsp:nvSpPr>
      <dsp:spPr>
        <a:xfrm>
          <a:off x="3589285" y="449059"/>
          <a:ext cx="313689" cy="461125"/>
        </a:xfrm>
        <a:custGeom>
          <a:avLst/>
          <a:gdLst/>
          <a:ahLst/>
          <a:cxnLst/>
          <a:rect l="0" t="0" r="0" b="0"/>
          <a:pathLst>
            <a:path>
              <a:moveTo>
                <a:pt x="313689" y="0"/>
              </a:moveTo>
              <a:lnTo>
                <a:pt x="313689" y="366985"/>
              </a:lnTo>
              <a:lnTo>
                <a:pt x="0" y="366985"/>
              </a:lnTo>
              <a:lnTo>
                <a:pt x="0" y="46112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0C0E8E-9146-4FF8-9E81-E2F73D38D307}">
      <dsp:nvSpPr>
        <dsp:cNvPr id="0" name=""/>
        <dsp:cNvSpPr/>
      </dsp:nvSpPr>
      <dsp:spPr>
        <a:xfrm>
          <a:off x="174127" y="1381791"/>
          <a:ext cx="217892" cy="35748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74892"/>
              </a:lnTo>
              <a:lnTo>
                <a:pt x="217892" y="3574892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AD99682-343B-4485-A14B-DE65F037093C}">
      <dsp:nvSpPr>
        <dsp:cNvPr id="0" name=""/>
        <dsp:cNvSpPr/>
      </dsp:nvSpPr>
      <dsp:spPr>
        <a:xfrm>
          <a:off x="174127" y="1381791"/>
          <a:ext cx="217892" cy="29383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38325"/>
              </a:lnTo>
              <a:lnTo>
                <a:pt x="217892" y="2938325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62AD45-37CE-4E4E-81E1-98A75BFFED33}">
      <dsp:nvSpPr>
        <dsp:cNvPr id="0" name=""/>
        <dsp:cNvSpPr/>
      </dsp:nvSpPr>
      <dsp:spPr>
        <a:xfrm>
          <a:off x="174127" y="1381791"/>
          <a:ext cx="217892" cy="23017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01758"/>
              </a:lnTo>
              <a:lnTo>
                <a:pt x="217892" y="230175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C84909-550F-4BDC-8966-B86E5E1786AE}">
      <dsp:nvSpPr>
        <dsp:cNvPr id="0" name=""/>
        <dsp:cNvSpPr/>
      </dsp:nvSpPr>
      <dsp:spPr>
        <a:xfrm>
          <a:off x="174127" y="1381791"/>
          <a:ext cx="217892" cy="16651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65191"/>
              </a:lnTo>
              <a:lnTo>
                <a:pt x="217892" y="166519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B3E9C0-0CE1-4B88-9E71-F7CE1A7F99D7}">
      <dsp:nvSpPr>
        <dsp:cNvPr id="0" name=""/>
        <dsp:cNvSpPr/>
      </dsp:nvSpPr>
      <dsp:spPr>
        <a:xfrm>
          <a:off x="174127" y="1381791"/>
          <a:ext cx="217892" cy="10286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28624"/>
              </a:lnTo>
              <a:lnTo>
                <a:pt x="217892" y="102862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3ED5F7-10A0-45C9-B814-5804FA76917E}">
      <dsp:nvSpPr>
        <dsp:cNvPr id="0" name=""/>
        <dsp:cNvSpPr/>
      </dsp:nvSpPr>
      <dsp:spPr>
        <a:xfrm>
          <a:off x="174127" y="1381791"/>
          <a:ext cx="217892" cy="3920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2058"/>
              </a:lnTo>
              <a:lnTo>
                <a:pt x="217892" y="39205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BC68A0-CABF-4126-884C-C90818E1E26E}">
      <dsp:nvSpPr>
        <dsp:cNvPr id="0" name=""/>
        <dsp:cNvSpPr/>
      </dsp:nvSpPr>
      <dsp:spPr>
        <a:xfrm>
          <a:off x="870635" y="449059"/>
          <a:ext cx="3032339" cy="208646"/>
        </a:xfrm>
        <a:custGeom>
          <a:avLst/>
          <a:gdLst/>
          <a:ahLst/>
          <a:cxnLst/>
          <a:rect l="0" t="0" r="0" b="0"/>
          <a:pathLst>
            <a:path>
              <a:moveTo>
                <a:pt x="3032339" y="0"/>
              </a:moveTo>
              <a:lnTo>
                <a:pt x="3032339" y="114505"/>
              </a:lnTo>
              <a:lnTo>
                <a:pt x="0" y="114505"/>
              </a:lnTo>
              <a:lnTo>
                <a:pt x="0" y="208646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D90FEA-3135-49C2-A3C0-CFEDDC6405B3}">
      <dsp:nvSpPr>
        <dsp:cNvPr id="0" name=""/>
        <dsp:cNvSpPr/>
      </dsp:nvSpPr>
      <dsp:spPr>
        <a:xfrm>
          <a:off x="3310147" y="772"/>
          <a:ext cx="1185655" cy="44828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Testability</a:t>
          </a:r>
          <a:endParaRPr lang="en-US" sz="1800" kern="1200" dirty="0"/>
        </a:p>
      </dsp:txBody>
      <dsp:txXfrm>
        <a:off x="3310147" y="772"/>
        <a:ext cx="1185655" cy="448286"/>
      </dsp:txXfrm>
    </dsp:sp>
    <dsp:sp modelId="{5E5C4910-D5C2-4117-9825-0F4E2308A1D4}">
      <dsp:nvSpPr>
        <dsp:cNvPr id="0" name=""/>
        <dsp:cNvSpPr/>
      </dsp:nvSpPr>
      <dsp:spPr>
        <a:xfrm>
          <a:off x="0" y="657705"/>
          <a:ext cx="1741270" cy="724085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Manage controllability and </a:t>
          </a:r>
          <a:r>
            <a:rPr lang="en-US" sz="1600" kern="1200" dirty="0" err="1" smtClean="0"/>
            <a:t>Observability</a:t>
          </a:r>
          <a:endParaRPr lang="en-US" sz="1600" kern="1200" dirty="0"/>
        </a:p>
      </dsp:txBody>
      <dsp:txXfrm>
        <a:off x="0" y="657705"/>
        <a:ext cx="1741270" cy="724085"/>
      </dsp:txXfrm>
    </dsp:sp>
    <dsp:sp modelId="{1064D61A-5C37-497D-A6F5-6312AB6E3F5A}">
      <dsp:nvSpPr>
        <dsp:cNvPr id="0" name=""/>
        <dsp:cNvSpPr/>
      </dsp:nvSpPr>
      <dsp:spPr>
        <a:xfrm>
          <a:off x="392019" y="1549705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ecord and playback</a:t>
          </a:r>
          <a:endParaRPr lang="en-US" sz="1600" kern="1200" dirty="0"/>
        </a:p>
      </dsp:txBody>
      <dsp:txXfrm>
        <a:off x="392019" y="1549705"/>
        <a:ext cx="2114074" cy="448286"/>
      </dsp:txXfrm>
    </dsp:sp>
    <dsp:sp modelId="{A77E27D0-EFD7-495B-9E1A-5A5371B8AB84}">
      <dsp:nvSpPr>
        <dsp:cNvPr id="0" name=""/>
        <dsp:cNvSpPr/>
      </dsp:nvSpPr>
      <dsp:spPr>
        <a:xfrm>
          <a:off x="392019" y="2186272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pecialized Interface</a:t>
          </a:r>
          <a:endParaRPr lang="en-US" sz="1600" kern="1200" dirty="0"/>
        </a:p>
      </dsp:txBody>
      <dsp:txXfrm>
        <a:off x="392019" y="2186272"/>
        <a:ext cx="2114074" cy="448286"/>
      </dsp:txXfrm>
    </dsp:sp>
    <dsp:sp modelId="{984A4F3B-0A00-4E5A-9092-1922B8A7FAB3}">
      <dsp:nvSpPr>
        <dsp:cNvPr id="0" name=""/>
        <dsp:cNvSpPr/>
      </dsp:nvSpPr>
      <dsp:spPr>
        <a:xfrm>
          <a:off x="392019" y="2822839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eparate interface and implementation</a:t>
          </a:r>
          <a:endParaRPr lang="en-US" sz="1600" kern="1200" dirty="0"/>
        </a:p>
      </dsp:txBody>
      <dsp:txXfrm>
        <a:off x="392019" y="2822839"/>
        <a:ext cx="2114074" cy="448286"/>
      </dsp:txXfrm>
    </dsp:sp>
    <dsp:sp modelId="{E8D3E92A-0794-4DFF-ADF5-83A9F9869BDA}">
      <dsp:nvSpPr>
        <dsp:cNvPr id="0" name=""/>
        <dsp:cNvSpPr/>
      </dsp:nvSpPr>
      <dsp:spPr>
        <a:xfrm>
          <a:off x="392019" y="3459406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Executable assertion</a:t>
          </a:r>
          <a:endParaRPr lang="en-US" sz="1600" kern="1200" dirty="0"/>
        </a:p>
      </dsp:txBody>
      <dsp:txXfrm>
        <a:off x="392019" y="3459406"/>
        <a:ext cx="2114074" cy="448286"/>
      </dsp:txXfrm>
    </dsp:sp>
    <dsp:sp modelId="{A3E484CC-77C3-47AE-B304-C3AADDD9ACD2}">
      <dsp:nvSpPr>
        <dsp:cNvPr id="0" name=""/>
        <dsp:cNvSpPr/>
      </dsp:nvSpPr>
      <dsp:spPr>
        <a:xfrm>
          <a:off x="392019" y="4095973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Localize data store</a:t>
          </a:r>
          <a:endParaRPr lang="en-US" sz="1600" kern="1200" dirty="0"/>
        </a:p>
      </dsp:txBody>
      <dsp:txXfrm>
        <a:off x="392019" y="4095973"/>
        <a:ext cx="2114074" cy="448286"/>
      </dsp:txXfrm>
    </dsp:sp>
    <dsp:sp modelId="{BFAB0065-46B4-4707-8B1B-5AD5D852CD73}">
      <dsp:nvSpPr>
        <dsp:cNvPr id="0" name=""/>
        <dsp:cNvSpPr/>
      </dsp:nvSpPr>
      <dsp:spPr>
        <a:xfrm>
          <a:off x="392019" y="4732540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andbox</a:t>
          </a:r>
          <a:endParaRPr lang="en-US" sz="1600" kern="1200" dirty="0"/>
        </a:p>
      </dsp:txBody>
      <dsp:txXfrm>
        <a:off x="392019" y="4732540"/>
        <a:ext cx="2114074" cy="448286"/>
      </dsp:txXfrm>
    </dsp:sp>
    <dsp:sp modelId="{F0ED6141-24DB-4164-A2D4-B51E750525CD}">
      <dsp:nvSpPr>
        <dsp:cNvPr id="0" name=""/>
        <dsp:cNvSpPr/>
      </dsp:nvSpPr>
      <dsp:spPr>
        <a:xfrm>
          <a:off x="2969349" y="910184"/>
          <a:ext cx="1239871" cy="48068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nternal Monitoring</a:t>
          </a:r>
          <a:endParaRPr lang="en-US" sz="1600" kern="1200" dirty="0"/>
        </a:p>
      </dsp:txBody>
      <dsp:txXfrm>
        <a:off x="2969349" y="910184"/>
        <a:ext cx="1239871" cy="480688"/>
      </dsp:txXfrm>
    </dsp:sp>
    <dsp:sp modelId="{CBCDE87F-FA6C-44B8-A9C2-1E747BE7F736}">
      <dsp:nvSpPr>
        <dsp:cNvPr id="0" name=""/>
        <dsp:cNvSpPr/>
      </dsp:nvSpPr>
      <dsp:spPr>
        <a:xfrm>
          <a:off x="3325867" y="2052060"/>
          <a:ext cx="2008135" cy="724023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ntroduce built-in monitor in the system</a:t>
          </a:r>
          <a:endParaRPr lang="en-US" sz="1600" kern="1200" dirty="0"/>
        </a:p>
      </dsp:txBody>
      <dsp:txXfrm>
        <a:off x="3325867" y="2052060"/>
        <a:ext cx="2008135" cy="724023"/>
      </dsp:txXfrm>
    </dsp:sp>
    <dsp:sp modelId="{A5F2589C-C16C-45F2-9A3D-F2A6CB2476D1}">
      <dsp:nvSpPr>
        <dsp:cNvPr id="0" name=""/>
        <dsp:cNvSpPr/>
      </dsp:nvSpPr>
      <dsp:spPr>
        <a:xfrm>
          <a:off x="6151908" y="848966"/>
          <a:ext cx="1349710" cy="44828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Manage Complexity</a:t>
          </a:r>
          <a:endParaRPr lang="en-US" sz="1600" kern="1200" dirty="0"/>
        </a:p>
      </dsp:txBody>
      <dsp:txXfrm>
        <a:off x="6151908" y="848966"/>
        <a:ext cx="1349710" cy="448286"/>
      </dsp:txXfrm>
    </dsp:sp>
    <dsp:sp modelId="{6E033C69-6BA8-4812-AE4E-0022A986E944}">
      <dsp:nvSpPr>
        <dsp:cNvPr id="0" name=""/>
        <dsp:cNvSpPr/>
      </dsp:nvSpPr>
      <dsp:spPr>
        <a:xfrm>
          <a:off x="6764844" y="1908837"/>
          <a:ext cx="1588333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Limit Structural complexity</a:t>
          </a:r>
          <a:endParaRPr lang="en-US" sz="1600" kern="1200" dirty="0"/>
        </a:p>
      </dsp:txBody>
      <dsp:txXfrm>
        <a:off x="6764844" y="1908837"/>
        <a:ext cx="1588333" cy="448286"/>
      </dsp:txXfrm>
    </dsp:sp>
    <dsp:sp modelId="{428A54D9-43F6-47B6-B3A2-FDCE09CB5A97}">
      <dsp:nvSpPr>
        <dsp:cNvPr id="0" name=""/>
        <dsp:cNvSpPr/>
      </dsp:nvSpPr>
      <dsp:spPr>
        <a:xfrm>
          <a:off x="6764844" y="2568293"/>
          <a:ext cx="1588333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Limit non-determinism</a:t>
          </a:r>
          <a:endParaRPr lang="en-US" sz="1600" kern="1200" dirty="0"/>
        </a:p>
      </dsp:txBody>
      <dsp:txXfrm>
        <a:off x="6764844" y="2568293"/>
        <a:ext cx="1588333" cy="4482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1/28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4.xml"/><Relationship Id="rId10" Type="http://schemas.openxmlformats.org/officeDocument/2006/relationships/image" Target="../media/image4.emf"/><Relationship Id="rId4" Type="http://schemas.openxmlformats.org/officeDocument/2006/relationships/tags" Target="../tags/tag3.xml"/><Relationship Id="rId9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4F724D-0587-459F-80C6-ACE2A0F5DCA5}" type="datetime1">
              <a:rPr lang="en-US" smtClean="0"/>
              <a:t>1/2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17989F-96F8-4C2A-A28D-94FCCC1940DA}" type="datetime1">
              <a:rPr lang="en-US" smtClean="0"/>
              <a:t>1/2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F10C15-23EC-46C7-9524-4C66D075A074}" type="datetime1">
              <a:rPr lang="en-US" smtClean="0"/>
              <a:t>1/2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1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SS ZG653 Second Semester 2014-15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032E01-4605-43DE-8129-F995C1DEBCA8}" type="datetime1">
              <a:rPr lang="en-US" smtClean="0"/>
              <a:t>1/2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C06C02-BCC5-4A57-BC46-5D7727BB0BB3}" type="datetime1">
              <a:rPr lang="en-US" smtClean="0"/>
              <a:t>1/2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D11779-2D67-471C-9D95-BAB168EA2A5D}" type="datetime1">
              <a:rPr lang="en-US" smtClean="0"/>
              <a:t>1/28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C0A3B0-6CFD-479E-9059-45686EAA74E3}" type="datetime1">
              <a:rPr lang="en-US" smtClean="0"/>
              <a:t>1/28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ABF2EF-6CA8-4AF8-B29C-E9AEB937B93E}" type="datetime1">
              <a:rPr lang="en-US" smtClean="0"/>
              <a:t>1/28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66454D-1367-437C-AA78-A7B95DE4A7F6}" type="datetime1">
              <a:rPr lang="en-US" smtClean="0"/>
              <a:t>1/28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29A701-612E-4460-A741-54FD35FA20A7}" type="datetime1">
              <a:rPr lang="en-US" smtClean="0"/>
              <a:t>1/28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D3938D-3E5E-431C-9A8D-F7083632C994}" type="datetime1">
              <a:rPr lang="en-US" smtClean="0"/>
              <a:t>1/28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84B85C3-2DF3-4152-A050-1FA9CFF3C691}" type="datetime1">
              <a:rPr lang="en-US" smtClean="0"/>
              <a:t>1/2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Lecture </a:t>
            </a:r>
            <a:r>
              <a:rPr lang="en-GB" sz="3200" dirty="0" smtClean="0"/>
              <a:t>5: Interoperability and Review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January 27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 Tactic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D6E3D62-2360-4BFB-819D-6F6C45A98EF0}" type="datetime1">
              <a:rPr lang="en-US" smtClean="0"/>
              <a:t>1/2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graphicFrame>
        <p:nvGraphicFramePr>
          <p:cNvPr id="7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80563988"/>
              </p:ext>
            </p:extLst>
          </p:nvPr>
        </p:nvGraphicFramePr>
        <p:xfrm>
          <a:off x="304800" y="1371600"/>
          <a:ext cx="83820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665904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ability Tactic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D5E256-6982-4B48-AE6F-65148451585D}" type="datetime1">
              <a:rPr lang="en-US" smtClean="0"/>
              <a:t>1/2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graphicFrame>
        <p:nvGraphicFramePr>
          <p:cNvPr id="7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50533798"/>
              </p:ext>
            </p:extLst>
          </p:nvPr>
        </p:nvGraphicFramePr>
        <p:xfrm>
          <a:off x="304800" y="1262416"/>
          <a:ext cx="83820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35944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12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551968E-834B-41A3-A514-C4771C9B4D2B}" type="datetime1">
              <a:rPr lang="en-US" smtClean="0"/>
              <a:t>1/28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92048" y="6528416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oper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35120"/>
            <a:ext cx="8382000" cy="5029200"/>
          </a:xfrm>
        </p:spPr>
        <p:txBody>
          <a:bodyPr/>
          <a:lstStyle/>
          <a:p>
            <a:r>
              <a:rPr lang="en-US" dirty="0" smtClean="0"/>
              <a:t>Ability that two systems can usefully exchange information through an interface</a:t>
            </a:r>
          </a:p>
          <a:p>
            <a:r>
              <a:rPr lang="en-US" dirty="0" smtClean="0"/>
              <a:t>Ability to transfer data and interpret data</a:t>
            </a:r>
          </a:p>
          <a:p>
            <a:r>
              <a:rPr lang="en-US" dirty="0" smtClean="0"/>
              <a:t>Information exchange can be direct or indirect</a:t>
            </a:r>
          </a:p>
          <a:p>
            <a:r>
              <a:rPr lang="en-US" dirty="0" smtClean="0"/>
              <a:t>Interface</a:t>
            </a:r>
          </a:p>
          <a:p>
            <a:pPr lvl="1"/>
            <a:r>
              <a:rPr lang="en-US" dirty="0" smtClean="0"/>
              <a:t>Beyond API</a:t>
            </a:r>
          </a:p>
          <a:p>
            <a:pPr lvl="1"/>
            <a:r>
              <a:rPr lang="en-US" dirty="0" smtClean="0"/>
              <a:t>Need to have a set of assumptions you can safely make about the entity exposing the API</a:t>
            </a:r>
          </a:p>
          <a:p>
            <a:r>
              <a:rPr lang="en-US" dirty="0" smtClean="0"/>
              <a:t>Example- you want to integrate with Google Map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81C3E0D-F1A0-434C-8D7C-B94B8FEBE672}" type="datetime1">
              <a:rPr lang="en-US" smtClean="0"/>
              <a:t>1/2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618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c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Interoperability</a:t>
            </a:r>
          </a:p>
          <a:p>
            <a:pPr lvl="1"/>
            <a:r>
              <a:rPr lang="en-US" sz="2400" dirty="0" smtClean="0"/>
              <a:t>Locate (Discover service)</a:t>
            </a:r>
          </a:p>
          <a:p>
            <a:pPr lvl="2"/>
            <a:r>
              <a:rPr lang="en-US" sz="2000" dirty="0" smtClean="0"/>
              <a:t>Identify the service through a known directory service. Here service implies a set of capabilities available through an interface</a:t>
            </a:r>
          </a:p>
          <a:p>
            <a:pPr lvl="2"/>
            <a:r>
              <a:rPr lang="en-US" sz="2000" dirty="0" smtClean="0"/>
              <a:t>By name, location or other attributes</a:t>
            </a:r>
          </a:p>
          <a:p>
            <a:pPr lvl="1"/>
            <a:r>
              <a:rPr lang="en-US" sz="2400" dirty="0" smtClean="0"/>
              <a:t>Manage interface</a:t>
            </a:r>
          </a:p>
          <a:p>
            <a:pPr lvl="2"/>
            <a:r>
              <a:rPr lang="en-US" sz="2000" dirty="0" smtClean="0"/>
              <a:t>Orchestrate</a:t>
            </a:r>
          </a:p>
          <a:p>
            <a:pPr lvl="3"/>
            <a:r>
              <a:rPr lang="en-US" sz="1800" dirty="0" smtClean="0"/>
              <a:t>Co-ordinate and manage a sequence of services. Example- workflow, which can be expressed in BPEL language</a:t>
            </a:r>
          </a:p>
          <a:p>
            <a:pPr lvl="2"/>
            <a:r>
              <a:rPr lang="en-US" sz="2000" dirty="0" smtClean="0"/>
              <a:t>Tailor interface</a:t>
            </a:r>
          </a:p>
          <a:p>
            <a:pPr lvl="3"/>
            <a:r>
              <a:rPr lang="en-US" sz="1800" dirty="0" smtClean="0"/>
              <a:t>Add or remove capability from an interface (hide a particular function from an untrusted user)</a:t>
            </a:r>
          </a:p>
          <a:p>
            <a:pPr lvl="3"/>
            <a:r>
              <a:rPr lang="en-US" sz="1800" dirty="0" smtClean="0"/>
              <a:t>Use Decorator pattern for this purpose</a:t>
            </a:r>
            <a:endParaRPr lang="en-US" sz="1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51A5491-B97A-441B-A1B7-FA2B9A11653A}" type="datetime1">
              <a:rPr lang="en-US" smtClean="0"/>
              <a:t>1/2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9267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 Sessio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7032E01-4605-43DE-8129-F995C1DEBCA8}" type="datetime1">
              <a:rPr lang="en-US" smtClean="0"/>
              <a:t>1/2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9777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ftware Quality Attribute Scenario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 good template to capture the quality requirement in unambiguous manner</a:t>
            </a:r>
          </a:p>
          <a:p>
            <a:pPr lvl="1"/>
            <a:r>
              <a:rPr lang="en-US" dirty="0" smtClean="0"/>
              <a:t>Source- entity that creates the event or a condition</a:t>
            </a:r>
          </a:p>
          <a:p>
            <a:pPr lvl="1"/>
            <a:r>
              <a:rPr lang="en-US" dirty="0" smtClean="0"/>
              <a:t>Stimulus- the condition that needs to be considered or the arrival of an event</a:t>
            </a:r>
          </a:p>
          <a:p>
            <a:pPr lvl="1"/>
            <a:r>
              <a:rPr lang="en-US" dirty="0" smtClean="0"/>
              <a:t>Environment- where the stimulus occurs</a:t>
            </a:r>
          </a:p>
          <a:p>
            <a:pPr lvl="1"/>
            <a:r>
              <a:rPr lang="en-US" dirty="0" smtClean="0"/>
              <a:t>Artifact- which is impacted by the stimulus</a:t>
            </a:r>
          </a:p>
          <a:p>
            <a:pPr lvl="1"/>
            <a:r>
              <a:rPr lang="en-US" dirty="0" smtClean="0"/>
              <a:t>Response- The activity needs to be undertaken </a:t>
            </a:r>
          </a:p>
          <a:p>
            <a:pPr lvl="1"/>
            <a:r>
              <a:rPr lang="en-US" dirty="0" smtClean="0"/>
              <a:t>Response measure- Metric which the testing team can use to test the requireme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2C06C02-BCC5-4A57-BC46-5D7727BB0BB3}" type="datetime1">
              <a:rPr lang="en-US" smtClean="0"/>
              <a:t>1/2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1491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205B924-9DEE-4B74-9B9D-CC10EC62D2CF}" type="datetime1">
              <a:rPr lang="en-US" smtClean="0"/>
              <a:t>1/28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bility Tactics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62998701"/>
              </p:ext>
            </p:extLst>
          </p:nvPr>
        </p:nvGraphicFramePr>
        <p:xfrm>
          <a:off x="0" y="1371600"/>
          <a:ext cx="8382000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7015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vailability Tactics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945E478-0B6A-4F6B-8D99-1150FE22B274}" type="datetime1">
              <a:rPr lang="en-US" smtClean="0"/>
              <a:t>1/28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graphicFrame>
        <p:nvGraphicFramePr>
          <p:cNvPr id="15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9605402"/>
              </p:ext>
            </p:extLst>
          </p:nvPr>
        </p:nvGraphicFramePr>
        <p:xfrm>
          <a:off x="304800" y="1371600"/>
          <a:ext cx="8382000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142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1AD90FEA-3135-49C2-A3C0-CFEDDC6405B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3BC68A0-CABF-4126-884C-C90818E1E26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5E5C4910-D5C2-4117-9825-0F4E2308A1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96956835-3386-449C-A89B-65F7C68024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F0ED6141-24DB-4164-A2D4-B51E750525C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C137CAE9-66E1-459B-A733-9B53B02E07A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5F2589C-C16C-45F2-9A3D-F2A6CB2476D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B562ECC0-9994-4B01-9E77-D5C13C49611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67A44139-B3F0-4118-89E8-A44A0D503C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83ED5F7-10A0-45C9-B814-5804FA7691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1064D61A-5C37-497D-A6F5-6312AB6E3F5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2B3E9C0-0CE1-4B88-9E71-F7CE1A7F99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77E27D0-EFD7-495B-9E1A-5A5371B8AB8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50C84909-550F-4BDC-8966-B86E5E1786A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984A4F3B-0A00-4E5A-9092-1922B8A7FAB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CC07306D-4BD7-4477-BB61-A954489058D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CBCDE87F-FA6C-44B8-A9C2-1E747BE7F7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FE10A4AF-D8A8-4F2D-9661-56E5DBB5B2C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5D0F02D1-4A23-4B53-AF4F-3529BE69829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1D4D3FE4-1739-4B3C-ACD2-597D18FBC5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7BABB840-5689-4566-85C9-55C4A127C4C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3A94D9E8-C2A3-4765-9477-D710CC64695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50D60845-A14B-4DD0-8DB4-8B07FEB31A2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EDC7120-FE6F-49D8-95F2-AB1B2B6AC9A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6E033C69-6BA8-4812-AE4E-0022A986E94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28E82B1A-B1F2-4CC5-9B64-B60015CBF62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428A54D9-43F6-47B6-B3A2-FDCE09CB5A9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11628582-088E-42FA-B6EC-953F652565B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93507A0E-B606-4F7A-9C01-283769128FF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2BC6CEE4-3F67-4FA6-8639-65EC4CCFF4D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1B4F947A-69EB-46FF-A1EA-7664283D213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981682D2-6375-4500-994F-C7CC8359456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78B1DB83-1FBB-4B72-AADA-6CBB1DAEF35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D70828E-DDD4-480C-BDFF-1E596F6615D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43C79B55-7800-4403-B3B4-49E5363FFF1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5" grpId="0">
        <p:bldSub>
          <a:bldDgm bld="lvlAtOnce"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ifiability Tactics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8E6712E-73CE-4421-B007-31FB455D4FF3}" type="datetime1">
              <a:rPr lang="en-US" smtClean="0"/>
              <a:t>1/28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graphicFrame>
        <p:nvGraphicFramePr>
          <p:cNvPr id="15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65956952"/>
              </p:ext>
            </p:extLst>
          </p:nvPr>
        </p:nvGraphicFramePr>
        <p:xfrm>
          <a:off x="304800" y="1371600"/>
          <a:ext cx="8534400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496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1AD90FEA-3135-49C2-A3C0-CFEDDC6405B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3BC68A0-CABF-4126-884C-C90818E1E26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5E5C4910-D5C2-4117-9825-0F4E2308A1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96956835-3386-449C-A89B-65F7C68024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F0ED6141-24DB-4164-A2D4-B51E750525C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C137CAE9-66E1-459B-A733-9B53B02E07A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5F2589C-C16C-45F2-9A3D-F2A6CB2476D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83ED5F7-10A0-45C9-B814-5804FA7691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1064D61A-5C37-497D-A6F5-6312AB6E3F5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2B3E9C0-0CE1-4B88-9E71-F7CE1A7F99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77E27D0-EFD7-495B-9E1A-5A5371B8AB8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50C84909-550F-4BDC-8966-B86E5E1786A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984A4F3B-0A00-4E5A-9092-1922B8A7FAB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CF00A05E-81E0-4C4F-9FC9-0B1D7BC7DE0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BA6AC4DB-0F64-47C4-8289-FB0923B8558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CC07306D-4BD7-4477-BB61-A954489058D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CBCDE87F-FA6C-44B8-A9C2-1E747BE7F7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FE10A4AF-D8A8-4F2D-9661-56E5DBB5B2C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5D0F02D1-4A23-4B53-AF4F-3529BE69829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1D4D3FE4-1739-4B3C-ACD2-597D18FBC5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7BABB840-5689-4566-85C9-55C4A127C4C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3A94D9E8-C2A3-4765-9477-D710CC64695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50D60845-A14B-4DD0-8DB4-8B07FEB31A2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AEDC7120-FE6F-49D8-95F2-AB1B2B6AC9A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6E033C69-6BA8-4812-AE4E-0022A986E94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28E82B1A-B1F2-4CC5-9B64-B60015CBF62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428A54D9-43F6-47B6-B3A2-FDCE09CB5A9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11628582-088E-42FA-B6EC-953F652565B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93507A0E-B606-4F7A-9C01-283769128FF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490CA387-8BDE-4005-BE6C-725A759AE03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0B051ACB-AD4B-44A0-B203-A3F060DC178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F6DF7D20-97CE-45B5-8272-1D8DFBF4322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dgm id="{B48C34C0-3268-4BDA-9392-41361EEA60C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5" grpId="0">
        <p:bldSub>
          <a:bldDgm bld="lvlOne"/>
        </p:bldSub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rformance Tactics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531DF37-DF66-40D8-86FD-5CEEB6424110}" type="datetime1">
              <a:rPr lang="en-US" smtClean="0"/>
              <a:t>1/28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46455592"/>
              </p:ext>
            </p:extLst>
          </p:nvPr>
        </p:nvGraphicFramePr>
        <p:xfrm>
          <a:off x="304800" y="1371600"/>
          <a:ext cx="8382000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0979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8BA7490-6ACB-4B33-883C-6FA120FC9D6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FA55980-77AF-44D0-A3F7-3BC269961AE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29320F6-83FB-4A89-9054-D9E9E12EE9B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43736C3-DC97-41E9-A92D-0C87CF3D4CE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C3924C6-95D7-4CDA-A998-F6CD342F166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F082D60-CC48-413C-8900-CCAAFA96DCD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B8A078E-B2AD-4CEF-B649-EE1D8B29662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C2F14F4-F80C-499C-898D-658D05F28B4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A63B776-8325-407C-949F-EF4E998D6E2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D6034CB-E414-4170-8B00-5686E0E374A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3FC501E-E654-41F7-BA6A-0BF70B2D3C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C90B3C0-311B-4985-BF2C-4868A2BA205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E66F63D-8FA6-42BB-A62A-C349B7EA69C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3B7BB75-3081-4A5F-AE84-D0A5017A250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677D944-029C-484C-80A5-13BC10A104E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0E31743-868F-406B-876C-6B11BD57339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29D70E0-3C5F-46EB-8055-DA38CAFC89E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A7675F5-2BBC-4E57-B900-715F59D6F9D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13ED6A2-462B-4141-834D-9A74299512E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74A45A3-F760-4C0A-96C3-EA44E0B9510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EF3B480-E935-4555-B3CF-B0EEC2DD124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59C8F32-68AE-41D1-8F21-AF2ADD28217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58FAC38-F844-4ED7-8E05-301D65C37F2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A285E9D-B462-4456-8ED7-DDC2E8C7683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C11BC86-6BAE-45D5-BE76-F78A05459AB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A2BD802-BF83-415A-AED6-A8AEE65C718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7CAA8CC-E8AB-4416-AC75-95F821E67A5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ECEA8CD-85C0-4A0E-A40C-3A0438CC7C8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262B25E-D781-4D44-82CD-CC9D501578F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10B7A79-132C-4674-BEC6-DB17C8FE71C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B48FE02-8066-4510-AB7C-F56BD51BDF4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BCCE23A-CC94-4B5F-B13D-CB73BFAE040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45277E3-0420-4505-9B32-E8C33D91C7D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02AF2FA-B901-4EBD-A0F4-874AF10956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19A917E-2FE0-4D54-B500-A6523829D53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AF14733-7772-4221-A3F0-B49E68B56A2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5C1F27A-1E2D-4892-BB4F-57A7E4F11ED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6489E13-5EBB-46EA-BAD7-DF8FF1BD953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D7130DD-593A-4323-998D-55A96692D1A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AB28D6A-8651-4C2D-A93F-547F675057B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C681653-6A95-44B8-8E18-604E239A892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Dgm bld="lvlOne"/>
        </p:bldSub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819</TotalTime>
  <Words>622</Words>
  <Application>Microsoft Office PowerPoint</Application>
  <PresentationFormat>On-screen Show (4:3)</PresentationFormat>
  <Paragraphs>171</Paragraphs>
  <Slides>1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Office Theme</vt:lpstr>
      <vt:lpstr>think-cell Slide</vt:lpstr>
      <vt:lpstr>SS ZG653: Software Architecture Lecture 5: Interoperability and Review</vt:lpstr>
      <vt:lpstr>Interoperability</vt:lpstr>
      <vt:lpstr>Tactics</vt:lpstr>
      <vt:lpstr>Review Session</vt:lpstr>
      <vt:lpstr>Software Quality Attribute Scenario</vt:lpstr>
      <vt:lpstr>Usability Tactics</vt:lpstr>
      <vt:lpstr>Availability Tactics</vt:lpstr>
      <vt:lpstr>Modifiability Tactics</vt:lpstr>
      <vt:lpstr>Performance Tactics</vt:lpstr>
      <vt:lpstr>Security Tactics</vt:lpstr>
      <vt:lpstr>Testability Tactic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623</cp:revision>
  <dcterms:created xsi:type="dcterms:W3CDTF">2012-07-04T06:43:36Z</dcterms:created>
  <dcterms:modified xsi:type="dcterms:W3CDTF">2015-01-28T10:38:22Z</dcterms:modified>
</cp:coreProperties>
</file>